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2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7"/>
  </p:notesMasterIdLst>
  <p:handoutMasterIdLst>
    <p:handoutMasterId r:id="rId18"/>
  </p:handoutMasterIdLst>
  <p:sldIdLst>
    <p:sldId id="256" r:id="rId2"/>
    <p:sldId id="1960" r:id="rId3"/>
    <p:sldId id="1936" r:id="rId4"/>
    <p:sldId id="1938" r:id="rId5"/>
    <p:sldId id="1942" r:id="rId6"/>
    <p:sldId id="1965" r:id="rId7"/>
    <p:sldId id="1943" r:id="rId8"/>
    <p:sldId id="1944" r:id="rId9"/>
    <p:sldId id="1948" r:id="rId10"/>
    <p:sldId id="1966" r:id="rId11"/>
    <p:sldId id="1961" r:id="rId12"/>
    <p:sldId id="1950" r:id="rId13"/>
    <p:sldId id="1967" r:id="rId14"/>
    <p:sldId id="1951" r:id="rId15"/>
    <p:sldId id="1963" r:id="rId1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EBD64D1-83BE-CBB4-F3B0-0601FD7424AB}" name="Adelia Januarto" initials="AJ" userId="0c2561ee7d72797c" providerId="Windows Liv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C3EC3"/>
    <a:srgbClr val="213C8E"/>
    <a:srgbClr val="2FA3DA"/>
    <a:srgbClr val="0098A7"/>
    <a:srgbClr val="2F6E7A"/>
    <a:srgbClr val="F5F5F5"/>
    <a:srgbClr val="7FBFC9"/>
    <a:srgbClr val="070707"/>
    <a:srgbClr val="020202"/>
    <a:srgbClr val="03707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460"/>
    <p:restoredTop sz="95827"/>
  </p:normalViewPr>
  <p:slideViewPr>
    <p:cSldViewPr snapToGrid="0" snapToObjects="1">
      <p:cViewPr varScale="1">
        <p:scale>
          <a:sx n="107" d="100"/>
          <a:sy n="107" d="100"/>
        </p:scale>
        <p:origin x="704" y="17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 snapToObjects="1">
      <p:cViewPr varScale="1">
        <p:scale>
          <a:sx n="85" d="100"/>
          <a:sy n="85" d="100"/>
        </p:scale>
        <p:origin x="3928" y="16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microsoft.com/office/2018/10/relationships/authors" Target="authors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27C718D7-DC7A-744E-940F-92211BC737E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60F84A9-562D-F248-BBAF-8A1BBBCD3B7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D0DBF45-B23F-EE4A-8BC2-A5A04FA3FC98}" type="datetimeFigureOut">
              <a:rPr lang="en-US" smtClean="0"/>
              <a:t>5/26/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DE03ACC-8486-344B-A329-CA64D0C7401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F28E02-73BB-3D4D-AEDD-249BFBB08B2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0757823-73C4-184D-B256-1476D043623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094235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8D5FC9A-FA52-6141-90EE-A603A290A5E6}" type="datetimeFigureOut">
              <a:rPr lang="en-US" smtClean="0"/>
              <a:t>5/26/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204BEB9-6AD8-DB44-A829-6CBA5AD9D1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03889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ractal Labs is a fictional company</a:t>
            </a:r>
          </a:p>
          <a:p>
            <a:r>
              <a:rPr lang="en-US" dirty="0"/>
              <a:t>Icon: https://</a:t>
            </a:r>
            <a:r>
              <a:rPr lang="en-US" dirty="0" err="1"/>
              <a:t>www.flaticon.com</a:t>
            </a:r>
            <a:r>
              <a:rPr lang="en-US" dirty="0"/>
              <a:t>/free-icon/deep-learning_8637101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04BEB9-6AD8-DB44-A829-6CBA5AD9D1CD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160201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04BEB9-6AD8-DB44-A829-6CBA5AD9D1CD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168108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04BEB9-6AD8-DB44-A829-6CBA5AD9D1CD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601205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err="1"/>
              <a:t>Sekarang</a:t>
            </a:r>
            <a:r>
              <a:rPr lang="en-US" dirty="0"/>
              <a:t> </a:t>
            </a:r>
            <a:r>
              <a:rPr lang="en-US" dirty="0" err="1"/>
              <a:t>setelah</a:t>
            </a:r>
            <a:r>
              <a:rPr lang="en-US" dirty="0"/>
              <a:t> </a:t>
            </a:r>
            <a:r>
              <a:rPr lang="en-US" dirty="0" err="1"/>
              <a:t>kita</a:t>
            </a:r>
            <a:r>
              <a:rPr lang="en-US" dirty="0"/>
              <a:t> </a:t>
            </a:r>
            <a:r>
              <a:rPr lang="en-US" dirty="0" err="1"/>
              <a:t>memahami</a:t>
            </a:r>
            <a:r>
              <a:rPr lang="en-US" dirty="0"/>
              <a:t> </a:t>
            </a:r>
            <a:r>
              <a:rPr lang="en-US" dirty="0" err="1"/>
              <a:t>rumus</a:t>
            </a:r>
            <a:r>
              <a:rPr lang="en-US" dirty="0"/>
              <a:t> Naive Bayes, </a:t>
            </a:r>
            <a:r>
              <a:rPr lang="en-US" dirty="0" err="1"/>
              <a:t>mari</a:t>
            </a:r>
            <a:r>
              <a:rPr lang="en-US" dirty="0"/>
              <a:t> </a:t>
            </a:r>
            <a:r>
              <a:rPr lang="en-US" dirty="0" err="1"/>
              <a:t>kita</a:t>
            </a:r>
            <a:r>
              <a:rPr lang="en-US" dirty="0"/>
              <a:t> </a:t>
            </a:r>
            <a:r>
              <a:rPr lang="en-US" dirty="0" err="1"/>
              <a:t>mempelajari</a:t>
            </a:r>
            <a:r>
              <a:rPr lang="en-US" dirty="0"/>
              <a:t> </a:t>
            </a:r>
            <a:r>
              <a:rPr lang="en-US" dirty="0" err="1"/>
              <a:t>aspek</a:t>
            </a:r>
            <a:r>
              <a:rPr lang="en-US" dirty="0"/>
              <a:t> </a:t>
            </a:r>
            <a:r>
              <a:rPr lang="en-US" dirty="0" err="1"/>
              <a:t>penting</a:t>
            </a:r>
            <a:r>
              <a:rPr lang="en-US" dirty="0"/>
              <a:t> </a:t>
            </a:r>
            <a:r>
              <a:rPr lang="en-US" dirty="0" err="1"/>
              <a:t>lainnya</a:t>
            </a:r>
            <a:r>
              <a:rPr lang="en-US" dirty="0"/>
              <a:t> </a:t>
            </a:r>
            <a:r>
              <a:rPr lang="en-US" dirty="0" err="1"/>
              <a:t>dari</a:t>
            </a:r>
            <a:r>
              <a:rPr lang="en-US" dirty="0"/>
              <a:t> </a:t>
            </a:r>
            <a:r>
              <a:rPr lang="en-US" dirty="0" err="1"/>
              <a:t>interpretasi</a:t>
            </a:r>
            <a:r>
              <a:rPr lang="en-US" dirty="0"/>
              <a:t> model </a:t>
            </a:r>
            <a:r>
              <a:rPr lang="en-US" dirty="0" err="1"/>
              <a:t>kita</a:t>
            </a:r>
            <a:r>
              <a:rPr lang="en-US" dirty="0"/>
              <a:t>: </a:t>
            </a:r>
            <a:r>
              <a:rPr lang="en-US" dirty="0" err="1"/>
              <a:t>pentingnya</a:t>
            </a:r>
            <a:r>
              <a:rPr lang="en-US" dirty="0"/>
              <a:t> </a:t>
            </a:r>
            <a:r>
              <a:rPr lang="en-US" dirty="0" err="1"/>
              <a:t>permutasi</a:t>
            </a:r>
            <a:r>
              <a:rPr lang="en-US" dirty="0"/>
              <a:t>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err="1"/>
              <a:t>Dengan</a:t>
            </a:r>
            <a:r>
              <a:rPr lang="en-US" dirty="0"/>
              <a:t> </a:t>
            </a:r>
            <a:r>
              <a:rPr lang="en-US" dirty="0" err="1"/>
              <a:t>memahami</a:t>
            </a:r>
            <a:r>
              <a:rPr lang="en-US" dirty="0"/>
              <a:t> </a:t>
            </a:r>
            <a:r>
              <a:rPr lang="en-US" dirty="0" err="1"/>
              <a:t>bagaimana</a:t>
            </a:r>
            <a:r>
              <a:rPr lang="en-US" dirty="0"/>
              <a:t> </a:t>
            </a:r>
            <a:r>
              <a:rPr lang="en-US" dirty="0" err="1"/>
              <a:t>pentingnya</a:t>
            </a:r>
            <a:r>
              <a:rPr lang="en-US" dirty="0"/>
              <a:t> </a:t>
            </a:r>
            <a:r>
              <a:rPr lang="en-US" dirty="0" err="1"/>
              <a:t>fitur</a:t>
            </a:r>
            <a:r>
              <a:rPr lang="en-US" dirty="0"/>
              <a:t> </a:t>
            </a:r>
            <a:r>
              <a:rPr lang="en-US" dirty="0" err="1"/>
              <a:t>ditentukan</a:t>
            </a:r>
            <a:r>
              <a:rPr lang="en-US" dirty="0"/>
              <a:t> </a:t>
            </a:r>
            <a:r>
              <a:rPr lang="en-US" dirty="0" err="1"/>
              <a:t>melalui</a:t>
            </a:r>
            <a:r>
              <a:rPr lang="en-US" dirty="0"/>
              <a:t> </a:t>
            </a:r>
            <a:r>
              <a:rPr lang="en-US" dirty="0" err="1"/>
              <a:t>kepentingan</a:t>
            </a:r>
            <a:r>
              <a:rPr lang="en-US" dirty="0"/>
              <a:t> </a:t>
            </a:r>
            <a:r>
              <a:rPr lang="en-US" dirty="0" err="1"/>
              <a:t>permutasi</a:t>
            </a:r>
            <a:r>
              <a:rPr lang="en-US" dirty="0"/>
              <a:t>, </a:t>
            </a:r>
            <a:r>
              <a:rPr lang="en-US" dirty="0" err="1"/>
              <a:t>kita</a:t>
            </a:r>
            <a:r>
              <a:rPr lang="en-US" dirty="0"/>
              <a:t> </a:t>
            </a:r>
            <a:r>
              <a:rPr lang="en-US" dirty="0" err="1"/>
              <a:t>dapat</a:t>
            </a:r>
            <a:r>
              <a:rPr lang="en-US" dirty="0"/>
              <a:t> </a:t>
            </a:r>
            <a:r>
              <a:rPr lang="en-US" dirty="0" err="1"/>
              <a:t>memperoleh</a:t>
            </a:r>
            <a:r>
              <a:rPr lang="en-US" dirty="0"/>
              <a:t> insight yang </a:t>
            </a:r>
            <a:r>
              <a:rPr lang="en-US" dirty="0" err="1"/>
              <a:t>lebih</a:t>
            </a:r>
            <a:r>
              <a:rPr lang="en-US" dirty="0"/>
              <a:t> </a:t>
            </a:r>
            <a:r>
              <a:rPr lang="en-US" dirty="0" err="1"/>
              <a:t>mendalam</a:t>
            </a:r>
            <a:r>
              <a:rPr lang="en-US" dirty="0"/>
              <a:t> </a:t>
            </a:r>
            <a:r>
              <a:rPr lang="en-US" dirty="0" err="1"/>
              <a:t>tentang</a:t>
            </a:r>
            <a:r>
              <a:rPr lang="en-US" dirty="0"/>
              <a:t> </a:t>
            </a:r>
            <a:r>
              <a:rPr lang="en-US" dirty="0" err="1"/>
              <a:t>fitur</a:t>
            </a:r>
            <a:r>
              <a:rPr lang="en-US" dirty="0"/>
              <a:t> mana yang paling </a:t>
            </a:r>
            <a:r>
              <a:rPr lang="en-US" dirty="0" err="1"/>
              <a:t>berpengaruh</a:t>
            </a:r>
            <a:r>
              <a:rPr lang="en-US" dirty="0"/>
              <a:t> </a:t>
            </a:r>
            <a:r>
              <a:rPr lang="en-US" dirty="0" err="1"/>
              <a:t>dalam</a:t>
            </a:r>
            <a:r>
              <a:rPr lang="en-US" dirty="0"/>
              <a:t> proses </a:t>
            </a:r>
            <a:r>
              <a:rPr lang="en-US" dirty="0" err="1"/>
              <a:t>pemodelan</a:t>
            </a:r>
            <a:r>
              <a:rPr lang="en-US" dirty="0"/>
              <a:t> </a:t>
            </a:r>
            <a:r>
              <a:rPr lang="en-US" dirty="0" err="1"/>
              <a:t>prediktif</a:t>
            </a:r>
            <a:r>
              <a:rPr lang="en-US" dirty="0"/>
              <a:t> </a:t>
            </a:r>
            <a:r>
              <a:rPr lang="en-US" dirty="0" err="1"/>
              <a:t>kita</a:t>
            </a:r>
            <a:r>
              <a:rPr lang="en-US" dirty="0"/>
              <a:t>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04BEB9-6AD8-DB44-A829-6CBA5AD9D1CD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090132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04BEB9-6AD8-DB44-A829-6CBA5AD9D1CD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920010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04BEB9-6AD8-DB44-A829-6CBA5AD9D1CD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942502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04BEB9-6AD8-DB44-A829-6CBA5AD9D1CD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635939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423C4E-3A47-FD46-B640-791D1996156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6422833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04BEB9-6AD8-DB44-A829-6CBA5AD9D1CD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536782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423C4E-3A47-FD46-B640-791D19961566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885798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04BEB9-6AD8-DB44-A829-6CBA5AD9D1CD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429587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04BEB9-6AD8-DB44-A829-6CBA5AD9D1CD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52460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ROC plot: visualizes classification model’s performance in different thresholds (rates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UC: how well a model can distinguish between class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04BEB9-6AD8-DB44-A829-6CBA5AD9D1CD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825639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04BEB9-6AD8-DB44-A829-6CBA5AD9D1CD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423856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04BEB9-6AD8-DB44-A829-6CBA5AD9D1CD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34288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3DBF37-47C4-D945-A0D2-B7912D394A3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6580B0A-FBA4-804B-A3B9-6D405464E9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07F797E-3580-5449-B05E-BB7B48F69B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4BC1AC-9027-CD42-BA8C-D711F192EA8D}" type="datetime1">
              <a:rPr lang="en-ID" smtClean="0"/>
              <a:t>26/05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16CC794-37EE-024A-A9AD-EA64705487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EB7C895-A438-824B-8CF6-C25FB2F3A9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584C5F-AC8F-AB45-98CD-0DC496F392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2888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260C7E-F598-8D4E-B2B1-B1F3C926BD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0765BB7-03B8-4A40-914D-217B5C99747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582870D-3DE5-B249-B9B5-5E20028B87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5939AB-50A0-9245-8A75-0EB09FFFC80D}" type="datetime1">
              <a:rPr lang="en-ID" smtClean="0"/>
              <a:t>26/05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6991CB5-F2C9-F944-B068-F884926234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D160A4-4637-DA49-9F22-C53AAB9AF7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584C5F-AC8F-AB45-98CD-0DC496F392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32140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9FD598F-9E73-6D42-8CC9-690D8EFDB3A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E061358-AEA2-8A4A-A27F-6F084636758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6BEC60-A239-A145-8309-491315A542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632A59-8EA9-124D-9120-F2415F6551E7}" type="datetime1">
              <a:rPr lang="en-ID" smtClean="0"/>
              <a:t>26/05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387610A-CC11-6F4B-AD0D-74AB16B014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D3C69DF-FAF3-EC4C-BCD3-B8C24AB7E0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584C5F-AC8F-AB45-98CD-0DC496F392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32627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97B192-3DFF-8643-8203-34DB534666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8E7270-1334-9D45-8C2E-F37745CB17A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1C07639-F798-3040-94CA-829592796A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603375-62FC-7249-9E39-72AC6EE53E46}" type="datetime1">
              <a:rPr lang="en-ID" smtClean="0"/>
              <a:t>26/05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146D49E-C8CF-D043-9799-053573A070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E34AA15-0832-0E4F-90A6-6550A24123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584C5F-AC8F-AB45-98CD-0DC496F392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08422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2E0543-4B6C-4944-A4C8-FE92E49CC3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21BB9D0-D229-5744-9894-2B4CD7D7C1E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75A6225-1232-FA45-BB99-5509A7FA86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900AE2-6A40-334F-B1F1-5BCED9F859F5}" type="datetime1">
              <a:rPr lang="en-ID" smtClean="0"/>
              <a:t>26/05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9A60916-9507-6940-9B8E-1AC84C38C5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9B4EB6-06BE-344C-8D26-BA1A39F91D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584C5F-AC8F-AB45-98CD-0DC496F392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455083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F59CF1-ADE3-B04B-A2A2-746A422951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9890F77-034A-3C4C-91C2-0F4834CAADB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6B8956D-1C9D-B34F-9D51-6EF879BE9C3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943D0DB-8334-474B-8630-161820B7A2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0A3F90-84C7-154D-A916-E0AB59D45C39}" type="datetime1">
              <a:rPr lang="en-ID" smtClean="0"/>
              <a:t>26/05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7677738-EA0F-8A4A-935D-9FF1B17110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7D500CF-A3E8-5A41-B817-3700838E0C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584C5F-AC8F-AB45-98CD-0DC496F392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289216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42C726-453B-AB4B-AF9E-969A922AED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7F63DBD-266D-014A-AD6E-97EDF19150B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F74E64F-9461-F94E-94F1-DE89FEF2051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81759FE-3800-FC4D-811E-F806D814A46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845B472-B433-E942-8ED4-BAF1BE5BCF2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5DBEAB3-FFAB-524F-9E90-72B0F0CE10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83929F-3A4A-7349-8E57-31AFAB25CCB9}" type="datetime1">
              <a:rPr lang="en-ID" smtClean="0"/>
              <a:t>26/05/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581C06B-AD46-514F-BF07-BE55D71FE1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AC32EA0-DC4E-3B44-A72B-2122418621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584C5F-AC8F-AB45-98CD-0DC496F392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55842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4FEFE8-80FF-A84F-92F7-EA4DC1538B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B475EFE-F275-6D43-AD6F-8CD950BF01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39F96F-8344-A442-9C09-E9514BB9C1E3}" type="datetime1">
              <a:rPr lang="en-ID" smtClean="0"/>
              <a:t>26/05/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3179682-3217-6644-98B3-4E6FCECA68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6C2851A-3920-D946-8660-2F06E52B22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584C5F-AC8F-AB45-98CD-0DC496F392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27147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CEA0A60-3690-0F4C-B064-CAA72D7271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FD16CE-E12C-8B47-99EA-AAA79B06CF72}" type="datetime1">
              <a:rPr lang="en-ID" smtClean="0"/>
              <a:t>26/05/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C26B42-4E79-FE4A-BAAE-C96B3415EA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E6C9BCB-3A06-9744-9671-DB09E28840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584C5F-AC8F-AB45-98CD-0DC496F392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14145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6FBD55-E1FE-D34E-BA94-28D9AD9A52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8BD6E4-BB22-964B-9AAE-F51C2100DDE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5D394FD-B657-504E-836F-7C8065C3EBA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6CDDBF9-6D6A-B647-BEBC-770D439AE9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17C161-8304-5846-AD51-21CB49911A81}" type="datetime1">
              <a:rPr lang="en-ID" smtClean="0"/>
              <a:t>26/05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CC4A036-7821-0B42-AD5A-CE58C799AD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91263D3-C6AF-D049-8F2B-0C3DEB0BF9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584C5F-AC8F-AB45-98CD-0DC496F392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647988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ADBFA8-FFAB-5F47-9FD9-D1E65EBCC7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A6575A9-C987-F249-A4BA-E558D89D2E0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9C71949-B4D6-AD40-8A2E-C65DB4B9F82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35FA904-5375-DE42-961E-814F43A174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28FA3E-6B92-3848-A7FC-01673A33629E}" type="datetime1">
              <a:rPr lang="en-ID" smtClean="0"/>
              <a:t>26/05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4A441D3-08A2-094B-9A04-063FBE5EB0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8677F17-69AC-0547-A8FE-121868DBCE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584C5F-AC8F-AB45-98CD-0DC496F392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71882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DA102BE-E20E-2342-9F7B-7356CF07BF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1868869-6BDE-E544-8524-09E0FE88DB1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0E9D182-C518-BA4B-BC09-41E103F9F69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00D6D92-345B-3E4A-8B30-19FCA361F2CC}" type="datetime1">
              <a:rPr lang="en-ID" smtClean="0"/>
              <a:t>26/05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A8519AA-34EA-7848-8A46-589953F4EF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19E7D11-D0F2-264F-8720-51084513A5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584C5F-AC8F-AB45-98CD-0DC496F392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56430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7DC288-B009-AE41-82AB-57408B5F114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33500" y="939114"/>
            <a:ext cx="7464511" cy="2226659"/>
          </a:xfrm>
        </p:spPr>
        <p:txBody>
          <a:bodyPr>
            <a:noAutofit/>
          </a:bodyPr>
          <a:lstStyle/>
          <a:p>
            <a:pPr algn="l"/>
            <a:r>
              <a:rPr lang="en-US" sz="3600" dirty="0"/>
              <a:t>Predicting Hotel Booking Cancellations to Minimize Revenue Loss due to False Negatives</a:t>
            </a:r>
            <a:r>
              <a:rPr lang="en-US" sz="3600" baseline="30000" dirty="0"/>
              <a:t>1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BEBECCB-7CAC-6C45-8E5E-9CBFE60A961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33500" y="3692228"/>
            <a:ext cx="2235200" cy="660400"/>
          </a:xfrm>
        </p:spPr>
        <p:txBody>
          <a:bodyPr>
            <a:noAutofit/>
          </a:bodyPr>
          <a:lstStyle/>
          <a:p>
            <a:pPr algn="l">
              <a:lnSpc>
                <a:spcPct val="100000"/>
              </a:lnSpc>
            </a:pPr>
            <a:r>
              <a:rPr lang="en-US" sz="1800" dirty="0"/>
              <a:t>Adelia Januarto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C99B0F8-CE30-0C4A-B7DA-D1FB88B98F4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333500" y="6077246"/>
            <a:ext cx="1092200" cy="365125"/>
          </a:xfrm>
        </p:spPr>
        <p:txBody>
          <a:bodyPr/>
          <a:lstStyle/>
          <a:p>
            <a:fld id="{01C28452-8962-7D47-839A-BAF00F7A86D2}" type="datetime5">
              <a:rPr lang="en-ID" smtClean="0"/>
              <a:t>26-May-24</a:t>
            </a:fld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84E4B62-7DE8-FC42-B428-21F659B55A82}"/>
              </a:ext>
            </a:extLst>
          </p:cNvPr>
          <p:cNvSpPr txBox="1"/>
          <p:nvPr/>
        </p:nvSpPr>
        <p:spPr>
          <a:xfrm>
            <a:off x="8928102" y="5936642"/>
            <a:ext cx="265034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baseline="30000" dirty="0">
                <a:solidFill>
                  <a:schemeClr val="bg1">
                    <a:lumMod val="50000"/>
                  </a:schemeClr>
                </a:solidFill>
              </a:rPr>
              <a:t>1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The model predicts that the booking will not be canceled, but in reality, the booking is canceled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719875BD-FD2F-BC4E-A153-DCA651030747}"/>
              </a:ext>
            </a:extLst>
          </p:cNvPr>
          <p:cNvSpPr txBox="1">
            <a:spLocks/>
          </p:cNvSpPr>
          <p:nvPr/>
        </p:nvSpPr>
        <p:spPr>
          <a:xfrm>
            <a:off x="1333499" y="3987503"/>
            <a:ext cx="2674829" cy="3651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ata Analyst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F445D67-A80B-0F45-8139-C4CE2621FBE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98011" y="2486838"/>
            <a:ext cx="2410779" cy="2410779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43780A6B-BE49-8141-A54D-FEE8870F501C}"/>
              </a:ext>
            </a:extLst>
          </p:cNvPr>
          <p:cNvSpPr txBox="1"/>
          <p:nvPr/>
        </p:nvSpPr>
        <p:spPr>
          <a:xfrm>
            <a:off x="10290659" y="315386"/>
            <a:ext cx="14542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d-ID" dirty="0">
                <a:solidFill>
                  <a:srgbClr val="213C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actal Labs</a:t>
            </a:r>
            <a:endParaRPr lang="en-US" b="1" dirty="0">
              <a:solidFill>
                <a:srgbClr val="213C8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99978E9-CD36-9748-A72A-F39A8EC1CF5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976515" y="308824"/>
            <a:ext cx="352244" cy="3522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081945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5EF750-22C4-D740-AD58-3FC36618E4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584" y="559498"/>
            <a:ext cx="11278488" cy="568325"/>
          </a:xfrm>
        </p:spPr>
        <p:txBody>
          <a:bodyPr>
            <a:noAutofit/>
          </a:bodyPr>
          <a:lstStyle/>
          <a:p>
            <a:r>
              <a:rPr lang="en-US" sz="2800" b="1" dirty="0"/>
              <a:t>Outlin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67AFB44-AE89-6F4B-B4C9-0D16E617D77D}"/>
              </a:ext>
            </a:extLst>
          </p:cNvPr>
          <p:cNvSpPr/>
          <p:nvPr/>
        </p:nvSpPr>
        <p:spPr>
          <a:xfrm>
            <a:off x="1051420" y="1702746"/>
            <a:ext cx="523316" cy="56657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>
                <a:solidFill>
                  <a:schemeClr val="bg1">
                    <a:lumMod val="65000"/>
                  </a:schemeClr>
                </a:solidFill>
              </a:rPr>
              <a:t>1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670F763-143C-404B-88E1-DD25EA89A6D8}"/>
              </a:ext>
            </a:extLst>
          </p:cNvPr>
          <p:cNvSpPr/>
          <p:nvPr/>
        </p:nvSpPr>
        <p:spPr>
          <a:xfrm>
            <a:off x="1672485" y="1702111"/>
            <a:ext cx="9212295" cy="568325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7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riment design &amp; results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4FB68D62-CFFC-2A40-B6D9-AB78E4D28A85}"/>
              </a:ext>
            </a:extLst>
          </p:cNvPr>
          <p:cNvSpPr/>
          <p:nvPr/>
        </p:nvSpPr>
        <p:spPr>
          <a:xfrm>
            <a:off x="1051420" y="2493855"/>
            <a:ext cx="523316" cy="56657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b="1" dirty="0">
                <a:solidFill>
                  <a:schemeClr val="bg1">
                    <a:lumMod val="65000"/>
                  </a:schemeClr>
                </a:solidFill>
              </a:rPr>
              <a:t>2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ED7EEFF1-E6CE-A84B-B6A4-DD188851353D}"/>
              </a:ext>
            </a:extLst>
          </p:cNvPr>
          <p:cNvSpPr/>
          <p:nvPr/>
        </p:nvSpPr>
        <p:spPr>
          <a:xfrm>
            <a:off x="1672485" y="2493220"/>
            <a:ext cx="9212295" cy="568325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st model’s evaluation: How good the model works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5084A05-7B89-AE4A-8DA2-922AC90E86DF}"/>
              </a:ext>
            </a:extLst>
          </p:cNvPr>
          <p:cNvSpPr/>
          <p:nvPr/>
        </p:nvSpPr>
        <p:spPr>
          <a:xfrm>
            <a:off x="1051420" y="3284964"/>
            <a:ext cx="523316" cy="56657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b="1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42242493-DFCC-4346-94B5-A5BC8BCE8773}"/>
              </a:ext>
            </a:extLst>
          </p:cNvPr>
          <p:cNvSpPr/>
          <p:nvPr/>
        </p:nvSpPr>
        <p:spPr>
          <a:xfrm>
            <a:off x="1672485" y="3284329"/>
            <a:ext cx="9212295" cy="568325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st model’s explanation: How the best model works</a:t>
            </a:r>
          </a:p>
        </p:txBody>
      </p:sp>
      <p:sp>
        <p:nvSpPr>
          <p:cNvPr id="36" name="Slide Number Placeholder 35">
            <a:extLst>
              <a:ext uri="{FF2B5EF4-FFF2-40B4-BE49-F238E27FC236}">
                <a16:creationId xmlns:a16="http://schemas.microsoft.com/office/drawing/2014/main" id="{C8DA6336-0887-A946-AAC3-582A77B43E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584C5F-AC8F-AB45-98CD-0DC496F3921E}" type="slidenum">
              <a:rPr lang="en-US" smtClean="0"/>
              <a:t>10</a:t>
            </a:fld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54FCD31-0C7E-9144-98AC-0703EB00A7A9}"/>
              </a:ext>
            </a:extLst>
          </p:cNvPr>
          <p:cNvSpPr/>
          <p:nvPr/>
        </p:nvSpPr>
        <p:spPr>
          <a:xfrm>
            <a:off x="1051420" y="4027695"/>
            <a:ext cx="523316" cy="56657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b="1" dirty="0">
                <a:solidFill>
                  <a:schemeClr val="bg1">
                    <a:lumMod val="65000"/>
                  </a:schemeClr>
                </a:solidFill>
              </a:rPr>
              <a:t>4</a:t>
            </a:r>
            <a:endParaRPr lang="en-US" sz="4800" b="1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E2685E6-10D2-C345-ABDC-2913C5791F5B}"/>
              </a:ext>
            </a:extLst>
          </p:cNvPr>
          <p:cNvSpPr/>
          <p:nvPr/>
        </p:nvSpPr>
        <p:spPr>
          <a:xfrm>
            <a:off x="1672485" y="4027060"/>
            <a:ext cx="9212295" cy="568325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clusions and recommendation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F43F99F-1353-A94B-A769-08F74D4B6D48}"/>
              </a:ext>
            </a:extLst>
          </p:cNvPr>
          <p:cNvSpPr txBox="1"/>
          <p:nvPr/>
        </p:nvSpPr>
        <p:spPr>
          <a:xfrm>
            <a:off x="10290659" y="315386"/>
            <a:ext cx="14542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d-ID" dirty="0">
                <a:solidFill>
                  <a:srgbClr val="213C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actal Labs</a:t>
            </a:r>
            <a:endParaRPr lang="en-US" b="1" dirty="0">
              <a:solidFill>
                <a:srgbClr val="213C8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4EC0A974-3B23-A349-87CF-44BD611CF43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76515" y="308824"/>
            <a:ext cx="352244" cy="3522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96700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5EF750-22C4-D740-AD58-3FC36618E4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3070" y="553118"/>
            <a:ext cx="10454711" cy="568325"/>
          </a:xfrm>
        </p:spPr>
        <p:txBody>
          <a:bodyPr>
            <a:noAutofit/>
          </a:bodyPr>
          <a:lstStyle/>
          <a:p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How the model (Naïve Bayes model) works</a:t>
            </a:r>
            <a:endParaRPr lang="en-US" sz="3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55408FB-7BC9-F349-83A4-1528B4E10B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584C5F-AC8F-AB45-98CD-0DC496F3921E}" type="slidenum">
              <a:rPr lang="en-US" smtClean="0"/>
              <a:t>11</a:t>
            </a:fld>
            <a:endParaRPr lang="en-US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11C1C867-1B88-264C-9961-ACDB5BDDB84F}"/>
              </a:ext>
            </a:extLst>
          </p:cNvPr>
          <p:cNvSpPr/>
          <p:nvPr/>
        </p:nvSpPr>
        <p:spPr>
          <a:xfrm>
            <a:off x="677253" y="1343200"/>
            <a:ext cx="5248534" cy="5013150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bIns="108000" rtlCol="0" anchor="t"/>
          <a:lstStyle/>
          <a:p>
            <a:pPr>
              <a:lnSpc>
                <a:spcPct val="120000"/>
              </a:lnSpc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71BFAEEA-B997-8644-8639-221A6D76B449}"/>
              </a:ext>
            </a:extLst>
          </p:cNvPr>
          <p:cNvSpPr/>
          <p:nvPr/>
        </p:nvSpPr>
        <p:spPr>
          <a:xfrm>
            <a:off x="677252" y="1330499"/>
            <a:ext cx="5248534" cy="401289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thod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AE75D566-1336-F845-BF33-B861314E057C}"/>
              </a:ext>
            </a:extLst>
          </p:cNvPr>
          <p:cNvSpPr/>
          <p:nvPr/>
        </p:nvSpPr>
        <p:spPr>
          <a:xfrm>
            <a:off x="724946" y="1786109"/>
            <a:ext cx="5200839" cy="4540914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ive Bayes Classifier works by applying Bayes' Theorem with the assumption that </a:t>
            </a:r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atures are independent 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naïve).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t calculates the probability of each class given the input features and predicts the class with the highest probability. 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20000"/>
              </a:lnSpc>
            </a:pP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20000"/>
              </a:lnSpc>
            </a:pP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20000"/>
              </a:lnSpc>
            </a:pP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s method is simple and fast for many types of classification tasks.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106F1B12-DAD8-584C-8688-131CEDC5B286}"/>
              </a:ext>
            </a:extLst>
          </p:cNvPr>
          <p:cNvSpPr/>
          <p:nvPr/>
        </p:nvSpPr>
        <p:spPr>
          <a:xfrm>
            <a:off x="6266215" y="1355901"/>
            <a:ext cx="5476332" cy="5013150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bIns="108000" rtlCol="0" anchor="t"/>
          <a:lstStyle/>
          <a:p>
            <a:pPr>
              <a:lnSpc>
                <a:spcPct val="120000"/>
              </a:lnSpc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FCE2A286-00B0-2545-A702-DF52F756FAFC}"/>
              </a:ext>
            </a:extLst>
          </p:cNvPr>
          <p:cNvSpPr/>
          <p:nvPr/>
        </p:nvSpPr>
        <p:spPr>
          <a:xfrm>
            <a:off x="6266214" y="1343200"/>
            <a:ext cx="5476332" cy="401289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te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F60C4C1F-3557-0346-B8F2-C85D7532C63A}"/>
              </a:ext>
            </a:extLst>
          </p:cNvPr>
          <p:cNvSpPr/>
          <p:nvPr/>
        </p:nvSpPr>
        <p:spPr>
          <a:xfrm>
            <a:off x="6367669" y="1860926"/>
            <a:ext cx="5273421" cy="1986679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20000"/>
              </a:lnSpc>
            </a:pPr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te: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(Canceled | Features): probability of a booking being canceled given observed features (e.g., customer type)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(Features | Canceled): probability of observing features given the booking was canceled.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(Canceled): prior probability of a booking being canceled.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(Features): probability of observing the featur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C96E803-8133-0B48-B6E8-CBEA3B695C1B}"/>
              </a:ext>
            </a:extLst>
          </p:cNvPr>
          <p:cNvSpPr txBox="1"/>
          <p:nvPr/>
        </p:nvSpPr>
        <p:spPr>
          <a:xfrm>
            <a:off x="10290659" y="315386"/>
            <a:ext cx="14542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d-ID" dirty="0">
                <a:solidFill>
                  <a:srgbClr val="213C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actal Labs</a:t>
            </a:r>
            <a:endParaRPr lang="en-US" b="1" dirty="0">
              <a:solidFill>
                <a:srgbClr val="213C8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F9B0465-106B-444B-B6AF-960291A186A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76515" y="308824"/>
            <a:ext cx="352244" cy="35224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ADF8845-2F1C-F74B-8A9E-9F930C4E405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2595" t="12500" r="15911" b="18452"/>
          <a:stretch/>
        </p:blipFill>
        <p:spPr>
          <a:xfrm>
            <a:off x="1067860" y="3429000"/>
            <a:ext cx="4722565" cy="1155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2079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5EF750-22C4-D740-AD58-3FC36618E4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584" y="559498"/>
            <a:ext cx="11278488" cy="568325"/>
          </a:xfrm>
        </p:spPr>
        <p:txBody>
          <a:bodyPr>
            <a:noAutofit/>
          </a:bodyPr>
          <a:lstStyle/>
          <a:p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Permutation importanc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AB58BF9-5934-F146-ADB9-B24D81F7175D}"/>
              </a:ext>
            </a:extLst>
          </p:cNvPr>
          <p:cNvSpPr/>
          <p:nvPr/>
        </p:nvSpPr>
        <p:spPr>
          <a:xfrm>
            <a:off x="455892" y="1513840"/>
            <a:ext cx="8190398" cy="4673600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bIns="108000" rtlCol="0" anchor="t"/>
          <a:lstStyle/>
          <a:p>
            <a:pPr>
              <a:lnSpc>
                <a:spcPct val="120000"/>
              </a:lnSpc>
            </a:pPr>
            <a:endParaRPr lang="en-US" sz="1400" dirty="0">
              <a:solidFill>
                <a:sysClr val="windowText" lastClr="000000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67AFB44-AE89-6F4B-B4C9-0D16E617D77D}"/>
              </a:ext>
            </a:extLst>
          </p:cNvPr>
          <p:cNvSpPr/>
          <p:nvPr/>
        </p:nvSpPr>
        <p:spPr>
          <a:xfrm>
            <a:off x="454585" y="1501775"/>
            <a:ext cx="7140015" cy="40005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mber of parking spaces has the highest importance in NB prediction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944BD5E-FC98-CA44-9E21-B618B051BD9C}"/>
              </a:ext>
            </a:extLst>
          </p:cNvPr>
          <p:cNvSpPr/>
          <p:nvPr/>
        </p:nvSpPr>
        <p:spPr>
          <a:xfrm>
            <a:off x="8780663" y="1513840"/>
            <a:ext cx="2952411" cy="4673757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bIns="108000" rtlCol="0" anchor="t"/>
          <a:lstStyle/>
          <a:p>
            <a:pPr>
              <a:lnSpc>
                <a:spcPct val="120000"/>
              </a:lnSpc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670F763-143C-404B-88E1-DD25EA89A6D8}"/>
              </a:ext>
            </a:extLst>
          </p:cNvPr>
          <p:cNvSpPr/>
          <p:nvPr/>
        </p:nvSpPr>
        <p:spPr>
          <a:xfrm>
            <a:off x="7772296" y="1501140"/>
            <a:ext cx="3960777" cy="401289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ight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D00DE6A-C954-1A43-8182-5D965F24DA6D}"/>
              </a:ext>
            </a:extLst>
          </p:cNvPr>
          <p:cNvSpPr/>
          <p:nvPr/>
        </p:nvSpPr>
        <p:spPr>
          <a:xfrm>
            <a:off x="7772296" y="1916936"/>
            <a:ext cx="3972607" cy="4439414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mutation importance checks the relative importance of each feature in making predictions.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t works by shuffling feature values and observing changes in model performance.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en-US" sz="1400" b="1" dirty="0">
                <a:solidFill>
                  <a:srgbClr val="1C3EC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`</a:t>
            </a:r>
            <a:r>
              <a:rPr lang="en-US" sz="1400" b="1" dirty="0" err="1">
                <a:solidFill>
                  <a:srgbClr val="1C3EC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quired_car_parking_spaces</a:t>
            </a:r>
            <a:r>
              <a:rPr lang="en-US" sz="1400" b="1" dirty="0">
                <a:solidFill>
                  <a:srgbClr val="1C3EC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` has the highest importance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suggesting that the number of parking spaces required by a guest is the strongest predictor of cancellation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6F5F193-73F8-FD41-8455-2D946AB49B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331210-954E-1448-9CFA-7A4043D6E7E5}" type="slidenum">
              <a:rPr lang="en-US" smtClean="0"/>
              <a:t>12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C6CDD2E-3333-0746-A7B3-AF8E3C639F88}"/>
              </a:ext>
            </a:extLst>
          </p:cNvPr>
          <p:cNvSpPr/>
          <p:nvPr/>
        </p:nvSpPr>
        <p:spPr>
          <a:xfrm>
            <a:off x="1034321" y="1901825"/>
            <a:ext cx="7434273" cy="88634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D515422-C250-3142-8E80-C080B2FDDEE6}"/>
              </a:ext>
            </a:extLst>
          </p:cNvPr>
          <p:cNvSpPr txBox="1"/>
          <p:nvPr/>
        </p:nvSpPr>
        <p:spPr>
          <a:xfrm>
            <a:off x="10290659" y="315386"/>
            <a:ext cx="14542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d-ID" dirty="0">
                <a:solidFill>
                  <a:srgbClr val="213C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actal Labs</a:t>
            </a:r>
            <a:endParaRPr lang="en-US" b="1" dirty="0">
              <a:solidFill>
                <a:srgbClr val="213C8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F8B318CC-6285-E843-B31A-8B643CE925C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76515" y="308824"/>
            <a:ext cx="352244" cy="352244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9C9BDCB-8BF4-8A4D-9B13-1319B6ABC51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8630" y="2052281"/>
            <a:ext cx="6551923" cy="3984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18341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5EF750-22C4-D740-AD58-3FC36618E4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584" y="559498"/>
            <a:ext cx="11278488" cy="568325"/>
          </a:xfrm>
        </p:spPr>
        <p:txBody>
          <a:bodyPr>
            <a:noAutofit/>
          </a:bodyPr>
          <a:lstStyle/>
          <a:p>
            <a:r>
              <a:rPr lang="en-US" sz="2800" b="1" dirty="0"/>
              <a:t>Outlin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67AFB44-AE89-6F4B-B4C9-0D16E617D77D}"/>
              </a:ext>
            </a:extLst>
          </p:cNvPr>
          <p:cNvSpPr/>
          <p:nvPr/>
        </p:nvSpPr>
        <p:spPr>
          <a:xfrm>
            <a:off x="1051420" y="1702746"/>
            <a:ext cx="523316" cy="56657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>
                <a:solidFill>
                  <a:schemeClr val="bg1">
                    <a:lumMod val="65000"/>
                  </a:schemeClr>
                </a:solidFill>
              </a:rPr>
              <a:t>1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670F763-143C-404B-88E1-DD25EA89A6D8}"/>
              </a:ext>
            </a:extLst>
          </p:cNvPr>
          <p:cNvSpPr/>
          <p:nvPr/>
        </p:nvSpPr>
        <p:spPr>
          <a:xfrm>
            <a:off x="1672485" y="1702111"/>
            <a:ext cx="9212295" cy="568325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7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riment design &amp; results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4FB68D62-CFFC-2A40-B6D9-AB78E4D28A85}"/>
              </a:ext>
            </a:extLst>
          </p:cNvPr>
          <p:cNvSpPr/>
          <p:nvPr/>
        </p:nvSpPr>
        <p:spPr>
          <a:xfrm>
            <a:off x="1051420" y="2493855"/>
            <a:ext cx="523316" cy="56657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b="1" dirty="0">
                <a:solidFill>
                  <a:schemeClr val="bg1">
                    <a:lumMod val="65000"/>
                  </a:schemeClr>
                </a:solidFill>
              </a:rPr>
              <a:t>2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ED7EEFF1-E6CE-A84B-B6A4-DD188851353D}"/>
              </a:ext>
            </a:extLst>
          </p:cNvPr>
          <p:cNvSpPr/>
          <p:nvPr/>
        </p:nvSpPr>
        <p:spPr>
          <a:xfrm>
            <a:off x="1672485" y="2493220"/>
            <a:ext cx="9212295" cy="568325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st model’s evaluation: How good the model works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5084A05-7B89-AE4A-8DA2-922AC90E86DF}"/>
              </a:ext>
            </a:extLst>
          </p:cNvPr>
          <p:cNvSpPr/>
          <p:nvPr/>
        </p:nvSpPr>
        <p:spPr>
          <a:xfrm>
            <a:off x="1051420" y="3284964"/>
            <a:ext cx="523316" cy="56657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b="1" dirty="0">
                <a:solidFill>
                  <a:schemeClr val="bg1">
                    <a:lumMod val="65000"/>
                  </a:schemeClr>
                </a:solidFill>
              </a:rPr>
              <a:t>3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42242493-DFCC-4346-94B5-A5BC8BCE8773}"/>
              </a:ext>
            </a:extLst>
          </p:cNvPr>
          <p:cNvSpPr/>
          <p:nvPr/>
        </p:nvSpPr>
        <p:spPr>
          <a:xfrm>
            <a:off x="1672485" y="3284329"/>
            <a:ext cx="9212295" cy="568325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st model’s explanation: How the best model works</a:t>
            </a:r>
          </a:p>
        </p:txBody>
      </p:sp>
      <p:sp>
        <p:nvSpPr>
          <p:cNvPr id="36" name="Slide Number Placeholder 35">
            <a:extLst>
              <a:ext uri="{FF2B5EF4-FFF2-40B4-BE49-F238E27FC236}">
                <a16:creationId xmlns:a16="http://schemas.microsoft.com/office/drawing/2014/main" id="{C8DA6336-0887-A946-AAC3-582A77B43E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584C5F-AC8F-AB45-98CD-0DC496F3921E}" type="slidenum">
              <a:rPr lang="en-US" smtClean="0"/>
              <a:t>13</a:t>
            </a:fld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54FCD31-0C7E-9144-98AC-0703EB00A7A9}"/>
              </a:ext>
            </a:extLst>
          </p:cNvPr>
          <p:cNvSpPr/>
          <p:nvPr/>
        </p:nvSpPr>
        <p:spPr>
          <a:xfrm>
            <a:off x="1051420" y="4027695"/>
            <a:ext cx="523316" cy="56657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b="1" dirty="0">
                <a:solidFill>
                  <a:schemeClr val="tx1"/>
                </a:solidFill>
              </a:rPr>
              <a:t>4</a:t>
            </a:r>
            <a:endParaRPr lang="en-US" sz="4800" b="1" dirty="0">
              <a:solidFill>
                <a:schemeClr val="tx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E2685E6-10D2-C345-ABDC-2913C5791F5B}"/>
              </a:ext>
            </a:extLst>
          </p:cNvPr>
          <p:cNvSpPr/>
          <p:nvPr/>
        </p:nvSpPr>
        <p:spPr>
          <a:xfrm>
            <a:off x="1672485" y="4027060"/>
            <a:ext cx="9212295" cy="568325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clusions and recommendation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F43F99F-1353-A94B-A769-08F74D4B6D48}"/>
              </a:ext>
            </a:extLst>
          </p:cNvPr>
          <p:cNvSpPr txBox="1"/>
          <p:nvPr/>
        </p:nvSpPr>
        <p:spPr>
          <a:xfrm>
            <a:off x="10290659" y="315386"/>
            <a:ext cx="14542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d-ID" dirty="0">
                <a:solidFill>
                  <a:srgbClr val="213C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actal Labs</a:t>
            </a:r>
            <a:endParaRPr lang="en-US" b="1" dirty="0">
              <a:solidFill>
                <a:srgbClr val="213C8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4EC0A974-3B23-A349-87CF-44BD611CF43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76515" y="308824"/>
            <a:ext cx="352244" cy="3522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89335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5EF750-22C4-D740-AD58-3FC36618E4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7252" y="530977"/>
            <a:ext cx="10454711" cy="568325"/>
          </a:xfrm>
        </p:spPr>
        <p:txBody>
          <a:bodyPr>
            <a:noAutofit/>
          </a:bodyPr>
          <a:lstStyle/>
          <a:p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Implications</a:t>
            </a:r>
            <a:endParaRPr lang="en-US" sz="3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55408FB-7BC9-F349-83A4-1528B4E10B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584C5F-AC8F-AB45-98CD-0DC496F3921E}" type="slidenum">
              <a:rPr lang="en-US" smtClean="0"/>
              <a:t>14</a:t>
            </a:fld>
            <a:endParaRPr lang="en-US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11C1C867-1B88-264C-9961-ACDB5BDDB84F}"/>
              </a:ext>
            </a:extLst>
          </p:cNvPr>
          <p:cNvSpPr/>
          <p:nvPr/>
        </p:nvSpPr>
        <p:spPr>
          <a:xfrm>
            <a:off x="677253" y="1343200"/>
            <a:ext cx="5248534" cy="5013150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bIns="108000" rtlCol="0" anchor="t"/>
          <a:lstStyle/>
          <a:p>
            <a:pPr>
              <a:lnSpc>
                <a:spcPct val="120000"/>
              </a:lnSpc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71BFAEEA-B997-8644-8639-221A6D76B449}"/>
              </a:ext>
            </a:extLst>
          </p:cNvPr>
          <p:cNvSpPr/>
          <p:nvPr/>
        </p:nvSpPr>
        <p:spPr>
          <a:xfrm>
            <a:off x="677252" y="1330499"/>
            <a:ext cx="5248534" cy="401289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 Model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AE75D566-1336-F845-BF33-B861314E057C}"/>
              </a:ext>
            </a:extLst>
          </p:cNvPr>
          <p:cNvSpPr/>
          <p:nvPr/>
        </p:nvSpPr>
        <p:spPr>
          <a:xfrm>
            <a:off x="677252" y="4597973"/>
            <a:ext cx="5248534" cy="1660022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P (Type I error): actual 0, </a:t>
            </a:r>
            <a:r>
              <a:rPr lang="en-US" sz="14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d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</a:t>
            </a:r>
          </a:p>
          <a:p>
            <a:pPr marL="742950" lvl="1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60 x $67.5 = $17,550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N (Type II error): actual 1, </a:t>
            </a:r>
            <a:r>
              <a:rPr lang="en-US" sz="14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d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0</a:t>
            </a:r>
          </a:p>
          <a:p>
            <a:pPr marL="742950" lvl="1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0 x $99 = $2,970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tal: $20,520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106F1B12-DAD8-584C-8688-131CEDC5B286}"/>
              </a:ext>
            </a:extLst>
          </p:cNvPr>
          <p:cNvSpPr/>
          <p:nvPr/>
        </p:nvSpPr>
        <p:spPr>
          <a:xfrm>
            <a:off x="6266215" y="1355901"/>
            <a:ext cx="5476332" cy="5013150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bIns="108000" rtlCol="0" anchor="t"/>
          <a:lstStyle/>
          <a:p>
            <a:pPr>
              <a:lnSpc>
                <a:spcPct val="120000"/>
              </a:lnSpc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FCE2A286-00B0-2545-A702-DF52F756FAFC}"/>
              </a:ext>
            </a:extLst>
          </p:cNvPr>
          <p:cNvSpPr/>
          <p:nvPr/>
        </p:nvSpPr>
        <p:spPr>
          <a:xfrm>
            <a:off x="6266214" y="1343200"/>
            <a:ext cx="5476332" cy="401289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out Model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F60C4C1F-3557-0346-B8F2-C85D7532C63A}"/>
              </a:ext>
            </a:extLst>
          </p:cNvPr>
          <p:cNvSpPr/>
          <p:nvPr/>
        </p:nvSpPr>
        <p:spPr>
          <a:xfrm>
            <a:off x="6352522" y="1798811"/>
            <a:ext cx="5273421" cy="3474118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sume 60% incorrect predictions with FP of 20% and FN 40%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P: 0.2 x 1020 bookings</a:t>
            </a:r>
          </a:p>
          <a:p>
            <a:pPr marL="742950" lvl="1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4 bookings x $67.5 = $13,770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N: 0.4 x 1020 bookings</a:t>
            </a:r>
          </a:p>
          <a:p>
            <a:pPr marL="742950" lvl="1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08 bookings x $99 = $40,394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tal: $54,162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42950" lvl="1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C96E803-8133-0B48-B6E8-CBEA3B695C1B}"/>
              </a:ext>
            </a:extLst>
          </p:cNvPr>
          <p:cNvSpPr txBox="1"/>
          <p:nvPr/>
        </p:nvSpPr>
        <p:spPr>
          <a:xfrm>
            <a:off x="10290659" y="315386"/>
            <a:ext cx="14542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d-ID" dirty="0">
                <a:solidFill>
                  <a:srgbClr val="213C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actal Labs</a:t>
            </a:r>
            <a:endParaRPr lang="en-US" b="1" dirty="0">
              <a:solidFill>
                <a:srgbClr val="213C8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F9B0465-106B-444B-B6AF-960291A186A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76515" y="308824"/>
            <a:ext cx="352244" cy="352244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B80AA4C4-3AD4-4B4E-8369-AD4BFCC4E23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196"/>
          <a:stretch/>
        </p:blipFill>
        <p:spPr>
          <a:xfrm>
            <a:off x="1995328" y="1855961"/>
            <a:ext cx="3063560" cy="2753889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2355B9B4-E5E4-2840-BCB5-14752252E453}"/>
              </a:ext>
            </a:extLst>
          </p:cNvPr>
          <p:cNvSpPr txBox="1"/>
          <p:nvPr/>
        </p:nvSpPr>
        <p:spPr>
          <a:xfrm>
            <a:off x="3776353" y="2134736"/>
            <a:ext cx="4090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FP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EBD6097-EA55-E04A-84BD-66D51FF24DB3}"/>
              </a:ext>
            </a:extLst>
          </p:cNvPr>
          <p:cNvSpPr txBox="1"/>
          <p:nvPr/>
        </p:nvSpPr>
        <p:spPr>
          <a:xfrm>
            <a:off x="2628387" y="2133112"/>
            <a:ext cx="4459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T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9915458-E723-B84A-8F1C-1E9BC08FBEF7}"/>
              </a:ext>
            </a:extLst>
          </p:cNvPr>
          <p:cNvSpPr txBox="1"/>
          <p:nvPr/>
        </p:nvSpPr>
        <p:spPr>
          <a:xfrm>
            <a:off x="3776353" y="3858591"/>
            <a:ext cx="4154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TP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E46B281-3B13-F94E-B356-170909460771}"/>
              </a:ext>
            </a:extLst>
          </p:cNvPr>
          <p:cNvSpPr txBox="1"/>
          <p:nvPr/>
        </p:nvSpPr>
        <p:spPr>
          <a:xfrm>
            <a:off x="2628387" y="3856967"/>
            <a:ext cx="4395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FN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3A7F66D-C2FE-CC47-8A9D-EC930E3CC5AC}"/>
              </a:ext>
            </a:extLst>
          </p:cNvPr>
          <p:cNvSpPr/>
          <p:nvPr/>
        </p:nvSpPr>
        <p:spPr>
          <a:xfrm>
            <a:off x="6352522" y="5221944"/>
            <a:ext cx="5273421" cy="691584"/>
          </a:xfrm>
          <a:prstGeom prst="rect">
            <a:avLst/>
          </a:prstGeom>
          <a:solidFill>
            <a:schemeClr val="bg1"/>
          </a:solidFill>
          <a:ln w="19050">
            <a:solidFill>
              <a:srgbClr val="1C3EC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lnSpc>
                <a:spcPct val="120000"/>
              </a:lnSpc>
            </a:pPr>
            <a:r>
              <a:rPr lang="en-US" sz="1400" b="1" dirty="0">
                <a:solidFill>
                  <a:srgbClr val="1C3EC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fference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</a:p>
          <a:p>
            <a:pPr algn="ctr">
              <a:lnSpc>
                <a:spcPct val="120000"/>
              </a:lnSpc>
            </a:pPr>
            <a:r>
              <a:rPr lang="en-US" dirty="0">
                <a:solidFill>
                  <a:srgbClr val="1C3EC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$54,162 - $20,520 = $33,642 saved by the model</a:t>
            </a:r>
          </a:p>
        </p:txBody>
      </p:sp>
    </p:spTree>
    <p:extLst>
      <p:ext uri="{BB962C8B-B14F-4D97-AF65-F5344CB8AC3E}">
        <p14:creationId xmlns:p14="http://schemas.microsoft.com/office/powerpoint/2010/main" val="41914061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5EF750-22C4-D740-AD58-3FC36618E4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7252" y="530977"/>
            <a:ext cx="10454711" cy="568325"/>
          </a:xfrm>
        </p:spPr>
        <p:txBody>
          <a:bodyPr>
            <a:noAutofit/>
          </a:bodyPr>
          <a:lstStyle/>
          <a:p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Conclusions and recommendations</a:t>
            </a:r>
            <a:endParaRPr lang="en-US" sz="3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55408FB-7BC9-F349-83A4-1528B4E10B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584C5F-AC8F-AB45-98CD-0DC496F3921E}" type="slidenum">
              <a:rPr lang="en-US" smtClean="0"/>
              <a:t>15</a:t>
            </a:fld>
            <a:endParaRPr lang="en-US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11C1C867-1B88-264C-9961-ACDB5BDDB84F}"/>
              </a:ext>
            </a:extLst>
          </p:cNvPr>
          <p:cNvSpPr/>
          <p:nvPr/>
        </p:nvSpPr>
        <p:spPr>
          <a:xfrm>
            <a:off x="677253" y="1343200"/>
            <a:ext cx="5248534" cy="5013150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bIns="108000" rtlCol="0" anchor="t"/>
          <a:lstStyle/>
          <a:p>
            <a:pPr>
              <a:lnSpc>
                <a:spcPct val="120000"/>
              </a:lnSpc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71BFAEEA-B997-8644-8639-221A6D76B449}"/>
              </a:ext>
            </a:extLst>
          </p:cNvPr>
          <p:cNvSpPr/>
          <p:nvPr/>
        </p:nvSpPr>
        <p:spPr>
          <a:xfrm>
            <a:off x="677252" y="1330499"/>
            <a:ext cx="5248534" cy="401289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mmary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AE75D566-1336-F845-BF33-B861314E057C}"/>
              </a:ext>
            </a:extLst>
          </p:cNvPr>
          <p:cNvSpPr/>
          <p:nvPr/>
        </p:nvSpPr>
        <p:spPr>
          <a:xfrm>
            <a:off x="724947" y="1786109"/>
            <a:ext cx="4883722" cy="4540914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s project aims to develop a machine learning classification model to predict hotel booking cancellations with a main focus of minimizing False Negative (Type II Error). 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series of machine learning experiments on the hotel's historical data have been carried out to find the best model in achieving such goal.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ong these experiments, Naïve Bayes algorithm performs the best to predict hotel cancellations with </a:t>
            </a:r>
            <a:r>
              <a:rPr lang="en-US" sz="14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2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core of 0.72</a:t>
            </a:r>
          </a:p>
          <a:p>
            <a:pPr marL="742950" lvl="1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model can help catch some cancellations that might have been missed before.</a:t>
            </a:r>
          </a:p>
          <a:p>
            <a:pPr marL="742950" lvl="1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y knowing which bookings are more likely to cancel, the hotel can avoid wasting staff, supplies or preparing rooms that might not be needed.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106F1B12-DAD8-584C-8688-131CEDC5B286}"/>
              </a:ext>
            </a:extLst>
          </p:cNvPr>
          <p:cNvSpPr/>
          <p:nvPr/>
        </p:nvSpPr>
        <p:spPr>
          <a:xfrm>
            <a:off x="6266215" y="1355901"/>
            <a:ext cx="5476332" cy="5013150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bIns="108000" rtlCol="0" anchor="t"/>
          <a:lstStyle/>
          <a:p>
            <a:pPr>
              <a:lnSpc>
                <a:spcPct val="120000"/>
              </a:lnSpc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FCE2A286-00B0-2545-A702-DF52F756FAFC}"/>
              </a:ext>
            </a:extLst>
          </p:cNvPr>
          <p:cNvSpPr/>
          <p:nvPr/>
        </p:nvSpPr>
        <p:spPr>
          <a:xfrm>
            <a:off x="6266214" y="1343200"/>
            <a:ext cx="5476332" cy="401289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commendations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F60C4C1F-3557-0346-B8F2-C85D7532C63A}"/>
              </a:ext>
            </a:extLst>
          </p:cNvPr>
          <p:cNvSpPr/>
          <p:nvPr/>
        </p:nvSpPr>
        <p:spPr>
          <a:xfrm>
            <a:off x="6352522" y="1798811"/>
            <a:ext cx="5273421" cy="2868190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20000"/>
              </a:lnSpc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</a:t>
            </a:r>
            <a:r>
              <a:rPr lang="en-US" sz="1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b="1" dirty="0">
                <a:solidFill>
                  <a:srgbClr val="1C3EC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tel managers</a:t>
            </a:r>
            <a:endParaRPr lang="en-US" sz="1400" dirty="0">
              <a:solidFill>
                <a:srgbClr val="1C3EC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model predictions to proactively manage bookings (e.g., reminding guests about their stays or offering deals to keep them from cancelling) and optimize resource allocation based on cancellations.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ck metrics to see if the model improves hotel operations (consider A/B testing).</a:t>
            </a:r>
          </a:p>
          <a:p>
            <a:pPr>
              <a:lnSpc>
                <a:spcPct val="120000"/>
              </a:lnSpc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</a:t>
            </a:r>
            <a:r>
              <a:rPr lang="en-US" sz="1400" b="1" dirty="0">
                <a:solidFill>
                  <a:srgbClr val="213C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b="1" dirty="0">
                <a:solidFill>
                  <a:srgbClr val="1C3EC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ture directions</a:t>
            </a:r>
            <a:endParaRPr lang="en-US" sz="1400" dirty="0">
              <a:solidFill>
                <a:srgbClr val="1C3EC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rove data quality by double-checking the source.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riment with different model configurations to potentially achieve a better performing model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C96E803-8133-0B48-B6E8-CBEA3B695C1B}"/>
              </a:ext>
            </a:extLst>
          </p:cNvPr>
          <p:cNvSpPr txBox="1"/>
          <p:nvPr/>
        </p:nvSpPr>
        <p:spPr>
          <a:xfrm>
            <a:off x="10290659" y="315386"/>
            <a:ext cx="14542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d-ID" dirty="0">
                <a:solidFill>
                  <a:srgbClr val="213C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actal Labs</a:t>
            </a:r>
            <a:endParaRPr lang="en-US" b="1" dirty="0">
              <a:solidFill>
                <a:srgbClr val="213C8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F9B0465-106B-444B-B6AF-960291A186A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76515" y="308824"/>
            <a:ext cx="352244" cy="3522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75876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02082C44-6B1E-AE4C-B11F-FDE7773B6DF6}"/>
              </a:ext>
            </a:extLst>
          </p:cNvPr>
          <p:cNvSpPr/>
          <p:nvPr/>
        </p:nvSpPr>
        <p:spPr>
          <a:xfrm>
            <a:off x="6240218" y="1265134"/>
            <a:ext cx="5476332" cy="5013150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bIns="108000" rtlCol="0" anchor="t"/>
          <a:lstStyle/>
          <a:p>
            <a:pPr marL="287337">
              <a:spcAft>
                <a:spcPts val="600"/>
              </a:spcAft>
            </a:pP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EBAC5FE-4BE9-F046-A4B9-6C11D63EEAE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32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EBAC5FE-4BE9-F046-A4B9-6C11D63EEA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Pentagon 31">
            <a:extLst>
              <a:ext uri="{FF2B5EF4-FFF2-40B4-BE49-F238E27FC236}">
                <a16:creationId xmlns:a16="http://schemas.microsoft.com/office/drawing/2014/main" id="{DEE73C66-42F3-82E4-3BA2-37D9128BDC71}"/>
              </a:ext>
            </a:extLst>
          </p:cNvPr>
          <p:cNvSpPr/>
          <p:nvPr/>
        </p:nvSpPr>
        <p:spPr>
          <a:xfrm>
            <a:off x="458786" y="1252433"/>
            <a:ext cx="5965163" cy="5013150"/>
          </a:xfrm>
          <a:prstGeom prst="homePlate">
            <a:avLst>
              <a:gd name="adj" fmla="val 13411"/>
            </a:avLst>
          </a:prstGeom>
          <a:solidFill>
            <a:schemeClr val="bg1"/>
          </a:solidFill>
          <a:ln w="19050"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03998" bIns="108000" rtlCol="0" anchor="t"/>
          <a:lstStyle/>
          <a:p>
            <a:pPr>
              <a:lnSpc>
                <a:spcPct val="120000"/>
              </a:lnSpc>
              <a:spcAft>
                <a:spcPts val="600"/>
              </a:spcAft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" name="Freeform 28">
            <a:extLst>
              <a:ext uri="{FF2B5EF4-FFF2-40B4-BE49-F238E27FC236}">
                <a16:creationId xmlns:a16="http://schemas.microsoft.com/office/drawing/2014/main" id="{5A220A43-74B8-BDB3-00DB-6A12085D8EAD}"/>
              </a:ext>
            </a:extLst>
          </p:cNvPr>
          <p:cNvSpPr/>
          <p:nvPr/>
        </p:nvSpPr>
        <p:spPr>
          <a:xfrm>
            <a:off x="459068" y="1240558"/>
            <a:ext cx="5403016" cy="401289"/>
          </a:xfrm>
          <a:custGeom>
            <a:avLst/>
            <a:gdLst>
              <a:gd name="connsiteX0" fmla="*/ 0 w 5440388"/>
              <a:gd name="connsiteY0" fmla="*/ 0 h 401289"/>
              <a:gd name="connsiteX1" fmla="*/ 5332754 w 5440388"/>
              <a:gd name="connsiteY1" fmla="*/ 0 h 401289"/>
              <a:gd name="connsiteX2" fmla="*/ 5440388 w 5440388"/>
              <a:gd name="connsiteY2" fmla="*/ 401289 h 401289"/>
              <a:gd name="connsiteX3" fmla="*/ 0 w 5440388"/>
              <a:gd name="connsiteY3" fmla="*/ 401289 h 401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40388" h="401289">
                <a:moveTo>
                  <a:pt x="0" y="0"/>
                </a:moveTo>
                <a:lnTo>
                  <a:pt x="5332754" y="0"/>
                </a:lnTo>
                <a:lnTo>
                  <a:pt x="5440388" y="401289"/>
                </a:lnTo>
                <a:lnTo>
                  <a:pt x="0" y="401289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at the problem is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1386FDBE-4A5E-6240-8794-8C05A5D13509}"/>
              </a:ext>
            </a:extLst>
          </p:cNvPr>
          <p:cNvSpPr txBox="1">
            <a:spLocks/>
          </p:cNvSpPr>
          <p:nvPr/>
        </p:nvSpPr>
        <p:spPr>
          <a:xfrm>
            <a:off x="431434" y="559498"/>
            <a:ext cx="11278488" cy="5683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The challenge now is….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18DE271-6DE3-3B41-852E-2CE9842A3167}"/>
              </a:ext>
            </a:extLst>
          </p:cNvPr>
          <p:cNvSpPr/>
          <p:nvPr/>
        </p:nvSpPr>
        <p:spPr>
          <a:xfrm>
            <a:off x="593766" y="2256319"/>
            <a:ext cx="961902" cy="296947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A0460E36-D24A-1946-94E6-B42D43587B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331210-954E-1448-9CFA-7A4043D6E7E5}" type="slidenum">
              <a:rPr lang="en-US" smtClean="0"/>
              <a:t>2</a:t>
            </a:fld>
            <a:endParaRPr lang="en-US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5A073C6A-97B6-D54D-A6D7-168F33EF41D0}"/>
              </a:ext>
            </a:extLst>
          </p:cNvPr>
          <p:cNvSpPr txBox="1"/>
          <p:nvPr/>
        </p:nvSpPr>
        <p:spPr>
          <a:xfrm>
            <a:off x="10290659" y="315386"/>
            <a:ext cx="14542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d-ID" dirty="0">
                <a:solidFill>
                  <a:srgbClr val="213C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actal Labs</a:t>
            </a:r>
            <a:endParaRPr lang="en-US" b="1" dirty="0">
              <a:solidFill>
                <a:srgbClr val="213C8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7E3D688-61F4-D84B-848A-1DEFC484422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976515" y="308824"/>
            <a:ext cx="352244" cy="352244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430B7940-CBFC-C64A-8A61-06956152BD5B}"/>
              </a:ext>
            </a:extLst>
          </p:cNvPr>
          <p:cNvSpPr/>
          <p:nvPr/>
        </p:nvSpPr>
        <p:spPr>
          <a:xfrm>
            <a:off x="475451" y="3475495"/>
            <a:ext cx="5643479" cy="1393808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bIns="108000" rtlCol="0" anchor="t"/>
          <a:lstStyle/>
          <a:p>
            <a:pPr marL="287337">
              <a:spcAft>
                <a:spcPts val="600"/>
              </a:spcAft>
            </a:pPr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jective</a:t>
            </a:r>
          </a:p>
          <a:p>
            <a:pPr marL="573087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elop a classification model to predict hotel booking cancellations.</a:t>
            </a:r>
          </a:p>
          <a:p>
            <a:pPr marL="573087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verage historical booking data to classify bookings as “Canceled” and “Not Canceled”.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41D5DC2-493E-E78D-5E4C-6CD8DE63F86B}"/>
              </a:ext>
            </a:extLst>
          </p:cNvPr>
          <p:cNvSpPr/>
          <p:nvPr/>
        </p:nvSpPr>
        <p:spPr>
          <a:xfrm>
            <a:off x="475450" y="1668016"/>
            <a:ext cx="5549299" cy="1925296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bIns="108000" rtlCol="0" anchor="t"/>
          <a:lstStyle/>
          <a:p>
            <a:pPr marL="287337">
              <a:spcAft>
                <a:spcPts val="600"/>
              </a:spcAft>
            </a:pPr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blem</a:t>
            </a:r>
          </a:p>
          <a:p>
            <a:pPr marL="573087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spitality industry </a:t>
            </a:r>
            <a:r>
              <a:rPr lang="en-US" sz="14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ces significant revenue loss 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</a:t>
            </a:r>
            <a:r>
              <a:rPr lang="en-US" sz="14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eration inefficiency 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ue to booking cancellations (</a:t>
            </a:r>
            <a:r>
              <a:rPr lang="en-US" sz="14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3%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.</a:t>
            </a:r>
          </a:p>
          <a:p>
            <a:pPr marL="573087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dicting cancellations in advance allows for proactive mitigation of negative impacts.</a:t>
            </a:r>
          </a:p>
          <a:p>
            <a:pPr marL="573087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ditional methods (e.g., historical data analysis) are labor intensive and often unreliable.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4977BC3-2116-C345-A0BE-24B9629C19EA}"/>
              </a:ext>
            </a:extLst>
          </p:cNvPr>
          <p:cNvSpPr/>
          <p:nvPr/>
        </p:nvSpPr>
        <p:spPr>
          <a:xfrm>
            <a:off x="6240217" y="1252433"/>
            <a:ext cx="5476332" cy="401289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ccess metric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6F60F10-AEF5-F04D-B80D-65C39F43B16F}"/>
              </a:ext>
            </a:extLst>
          </p:cNvPr>
          <p:cNvSpPr/>
          <p:nvPr/>
        </p:nvSpPr>
        <p:spPr>
          <a:xfrm>
            <a:off x="6195603" y="1753739"/>
            <a:ext cx="5444274" cy="1976865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7337">
              <a:spcAft>
                <a:spcPts val="600"/>
              </a:spcAft>
            </a:pPr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ype I error</a:t>
            </a:r>
          </a:p>
          <a:p>
            <a:pPr marL="573087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orrectly identifying a booking as canceled can lead to unnecessary compensation for room upgrades</a:t>
            </a:r>
          </a:p>
          <a:p>
            <a:pPr marL="573087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imated financial impacts</a:t>
            </a:r>
          </a:p>
          <a:p>
            <a:pPr marL="1030287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verage loss per false positive: $10 to $67.5</a:t>
            </a:r>
          </a:p>
          <a:p>
            <a:pPr marL="1030287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tal monthly loss for 100 errors: </a:t>
            </a:r>
            <a:r>
              <a:rPr lang="en-US" sz="14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$1,000 to $6,750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5BD3680-4CB1-7546-A859-64011582FA47}"/>
              </a:ext>
            </a:extLst>
          </p:cNvPr>
          <p:cNvSpPr/>
          <p:nvPr/>
        </p:nvSpPr>
        <p:spPr>
          <a:xfrm>
            <a:off x="6240218" y="3389392"/>
            <a:ext cx="5444274" cy="1479911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7337">
              <a:spcAft>
                <a:spcPts val="600"/>
              </a:spcAft>
            </a:pPr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ype II error</a:t>
            </a:r>
          </a:p>
          <a:p>
            <a:pPr marL="573087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orrectly predicting a cancellations</a:t>
            </a:r>
          </a:p>
          <a:p>
            <a:pPr marL="573087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imated financial impacts</a:t>
            </a:r>
          </a:p>
          <a:p>
            <a:pPr marL="1030287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venue loss per false negative: $99 per night</a:t>
            </a:r>
          </a:p>
          <a:p>
            <a:pPr marL="1030287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tal monthly loss for 100 errors: </a:t>
            </a:r>
            <a:r>
              <a:rPr lang="en-US" sz="14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$9,900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44E8B2E-4E8D-5B4E-A644-354E433BE485}"/>
              </a:ext>
            </a:extLst>
          </p:cNvPr>
          <p:cNvSpPr/>
          <p:nvPr/>
        </p:nvSpPr>
        <p:spPr>
          <a:xfrm>
            <a:off x="6240218" y="4786910"/>
            <a:ext cx="5469704" cy="1479911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7337">
              <a:spcAft>
                <a:spcPts val="600"/>
              </a:spcAft>
            </a:pPr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tric</a:t>
            </a:r>
          </a:p>
          <a:p>
            <a:pPr marL="573087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inly focus on mitigating the impact of false negatives (Type II errors) due to higher financial risk.</a:t>
            </a:r>
          </a:p>
          <a:p>
            <a:pPr marL="573087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2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(emphasis on recall to reduce Type II errors) will be used to evaluate the model’s performance.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E49BFF9-E4D9-D349-9EE4-F464F4E871CC}"/>
              </a:ext>
            </a:extLst>
          </p:cNvPr>
          <p:cNvSpPr/>
          <p:nvPr/>
        </p:nvSpPr>
        <p:spPr>
          <a:xfrm>
            <a:off x="431434" y="4781316"/>
            <a:ext cx="5643479" cy="1144471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bIns="108000" rtlCol="0" anchor="t"/>
          <a:lstStyle/>
          <a:p>
            <a:pPr marL="287337">
              <a:spcAft>
                <a:spcPts val="600"/>
              </a:spcAft>
            </a:pPr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alytic approach</a:t>
            </a:r>
          </a:p>
          <a:p>
            <a:pPr marL="573087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elop a predictive model to assist the hotel in forecasting the likelihood of booking cancellations</a:t>
            </a:r>
          </a:p>
        </p:txBody>
      </p:sp>
    </p:spTree>
    <p:extLst>
      <p:ext uri="{BB962C8B-B14F-4D97-AF65-F5344CB8AC3E}">
        <p14:creationId xmlns:p14="http://schemas.microsoft.com/office/powerpoint/2010/main" val="24555322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5EF750-22C4-D740-AD58-3FC36618E4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584" y="559498"/>
            <a:ext cx="11278488" cy="568325"/>
          </a:xfrm>
        </p:spPr>
        <p:txBody>
          <a:bodyPr>
            <a:noAutofit/>
          </a:bodyPr>
          <a:lstStyle/>
          <a:p>
            <a:r>
              <a:rPr lang="en-US" sz="2800" b="1" dirty="0"/>
              <a:t>Outlin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67AFB44-AE89-6F4B-B4C9-0D16E617D77D}"/>
              </a:ext>
            </a:extLst>
          </p:cNvPr>
          <p:cNvSpPr/>
          <p:nvPr/>
        </p:nvSpPr>
        <p:spPr>
          <a:xfrm>
            <a:off x="1051420" y="1702746"/>
            <a:ext cx="523316" cy="56657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670F763-143C-404B-88E1-DD25EA89A6D8}"/>
              </a:ext>
            </a:extLst>
          </p:cNvPr>
          <p:cNvSpPr/>
          <p:nvPr/>
        </p:nvSpPr>
        <p:spPr>
          <a:xfrm>
            <a:off x="1672485" y="1702111"/>
            <a:ext cx="9212295" cy="568325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riment design &amp; results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4FB68D62-CFFC-2A40-B6D9-AB78E4D28A85}"/>
              </a:ext>
            </a:extLst>
          </p:cNvPr>
          <p:cNvSpPr/>
          <p:nvPr/>
        </p:nvSpPr>
        <p:spPr>
          <a:xfrm>
            <a:off x="1051420" y="2493855"/>
            <a:ext cx="523316" cy="56657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b="1" dirty="0">
                <a:solidFill>
                  <a:schemeClr val="bg1">
                    <a:lumMod val="65000"/>
                  </a:schemeClr>
                </a:solidFill>
              </a:rPr>
              <a:t>2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ED7EEFF1-E6CE-A84B-B6A4-DD188851353D}"/>
              </a:ext>
            </a:extLst>
          </p:cNvPr>
          <p:cNvSpPr/>
          <p:nvPr/>
        </p:nvSpPr>
        <p:spPr>
          <a:xfrm>
            <a:off x="1672485" y="2493220"/>
            <a:ext cx="9212295" cy="568325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st model’s evaluation: How good the model works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5084A05-7B89-AE4A-8DA2-922AC90E86DF}"/>
              </a:ext>
            </a:extLst>
          </p:cNvPr>
          <p:cNvSpPr/>
          <p:nvPr/>
        </p:nvSpPr>
        <p:spPr>
          <a:xfrm>
            <a:off x="1051420" y="3284964"/>
            <a:ext cx="523316" cy="56657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b="1" dirty="0">
                <a:solidFill>
                  <a:schemeClr val="bg1">
                    <a:lumMod val="65000"/>
                  </a:schemeClr>
                </a:solidFill>
              </a:rPr>
              <a:t>3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42242493-DFCC-4346-94B5-A5BC8BCE8773}"/>
              </a:ext>
            </a:extLst>
          </p:cNvPr>
          <p:cNvSpPr/>
          <p:nvPr/>
        </p:nvSpPr>
        <p:spPr>
          <a:xfrm>
            <a:off x="1672485" y="3284329"/>
            <a:ext cx="9212295" cy="568325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st model’s explanation: How the best model works</a:t>
            </a:r>
          </a:p>
        </p:txBody>
      </p:sp>
      <p:sp>
        <p:nvSpPr>
          <p:cNvPr id="36" name="Slide Number Placeholder 35">
            <a:extLst>
              <a:ext uri="{FF2B5EF4-FFF2-40B4-BE49-F238E27FC236}">
                <a16:creationId xmlns:a16="http://schemas.microsoft.com/office/drawing/2014/main" id="{C8DA6336-0887-A946-AAC3-582A77B43E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584C5F-AC8F-AB45-98CD-0DC496F3921E}" type="slidenum">
              <a:rPr lang="en-US" smtClean="0"/>
              <a:t>3</a:t>
            </a:fld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54FCD31-0C7E-9144-98AC-0703EB00A7A9}"/>
              </a:ext>
            </a:extLst>
          </p:cNvPr>
          <p:cNvSpPr/>
          <p:nvPr/>
        </p:nvSpPr>
        <p:spPr>
          <a:xfrm>
            <a:off x="1051420" y="4027695"/>
            <a:ext cx="523316" cy="56657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b="1" dirty="0">
                <a:solidFill>
                  <a:schemeClr val="bg1">
                    <a:lumMod val="65000"/>
                  </a:schemeClr>
                </a:solidFill>
              </a:rPr>
              <a:t>4</a:t>
            </a:r>
            <a:endParaRPr lang="en-US" sz="4800" b="1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E2685E6-10D2-C345-ABDC-2913C5791F5B}"/>
              </a:ext>
            </a:extLst>
          </p:cNvPr>
          <p:cNvSpPr/>
          <p:nvPr/>
        </p:nvSpPr>
        <p:spPr>
          <a:xfrm>
            <a:off x="1672485" y="4027060"/>
            <a:ext cx="9212295" cy="568325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clusions and recommendation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F43F99F-1353-A94B-A769-08F74D4B6D48}"/>
              </a:ext>
            </a:extLst>
          </p:cNvPr>
          <p:cNvSpPr txBox="1"/>
          <p:nvPr/>
        </p:nvSpPr>
        <p:spPr>
          <a:xfrm>
            <a:off x="10290659" y="315386"/>
            <a:ext cx="14542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d-ID" dirty="0">
                <a:solidFill>
                  <a:srgbClr val="213C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actal Labs</a:t>
            </a:r>
            <a:endParaRPr lang="en-US" b="1" dirty="0">
              <a:solidFill>
                <a:srgbClr val="213C8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4EC0A974-3B23-A349-87CF-44BD611CF43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76515" y="308824"/>
            <a:ext cx="352244" cy="3522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0237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EBAC5FE-4BE9-F046-A4B9-6C11D63EEAE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1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EBAC5FE-4BE9-F046-A4B9-6C11D63EEA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3" name="Rectangle 122">
            <a:extLst>
              <a:ext uri="{FF2B5EF4-FFF2-40B4-BE49-F238E27FC236}">
                <a16:creationId xmlns:a16="http://schemas.microsoft.com/office/drawing/2014/main" id="{A6D3EEB2-B5C5-A541-9FB0-9D1D36DF4A52}"/>
              </a:ext>
            </a:extLst>
          </p:cNvPr>
          <p:cNvSpPr/>
          <p:nvPr/>
        </p:nvSpPr>
        <p:spPr>
          <a:xfrm>
            <a:off x="532677" y="1654258"/>
            <a:ext cx="1357499" cy="319307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riment 1</a:t>
            </a:r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6477A94B-4FD6-C24B-A256-0176BC4686C2}"/>
              </a:ext>
            </a:extLst>
          </p:cNvPr>
          <p:cNvSpPr/>
          <p:nvPr/>
        </p:nvSpPr>
        <p:spPr>
          <a:xfrm>
            <a:off x="532677" y="2057363"/>
            <a:ext cx="1357499" cy="319307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riment 2</a:t>
            </a:r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0C21E740-B814-3F4F-A928-DE367D993227}"/>
              </a:ext>
            </a:extLst>
          </p:cNvPr>
          <p:cNvSpPr/>
          <p:nvPr/>
        </p:nvSpPr>
        <p:spPr>
          <a:xfrm>
            <a:off x="532677" y="2460468"/>
            <a:ext cx="1357499" cy="319307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riment 3</a:t>
            </a: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B84C4BFD-F8F5-B644-BC4C-EEE5D195C9B0}"/>
              </a:ext>
            </a:extLst>
          </p:cNvPr>
          <p:cNvSpPr/>
          <p:nvPr/>
        </p:nvSpPr>
        <p:spPr>
          <a:xfrm>
            <a:off x="532677" y="2863573"/>
            <a:ext cx="1357499" cy="319307"/>
          </a:xfrm>
          <a:prstGeom prst="rect">
            <a:avLst/>
          </a:prstGeom>
          <a:solidFill>
            <a:schemeClr val="bg1">
              <a:lumMod val="6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aluation 1</a:t>
            </a:r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73316B7A-55A3-4B47-94D7-F3B6B80B05DB}"/>
              </a:ext>
            </a:extLst>
          </p:cNvPr>
          <p:cNvSpPr/>
          <p:nvPr/>
        </p:nvSpPr>
        <p:spPr>
          <a:xfrm>
            <a:off x="532677" y="3266678"/>
            <a:ext cx="1357499" cy="319307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riment 4</a:t>
            </a:r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6993DB8D-E163-104E-8189-318C7ACCE504}"/>
              </a:ext>
            </a:extLst>
          </p:cNvPr>
          <p:cNvSpPr/>
          <p:nvPr/>
        </p:nvSpPr>
        <p:spPr>
          <a:xfrm>
            <a:off x="532677" y="3669783"/>
            <a:ext cx="1357499" cy="319307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riment 5</a:t>
            </a:r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B0535B83-2EE2-5A43-B19E-E94D11DD1508}"/>
              </a:ext>
            </a:extLst>
          </p:cNvPr>
          <p:cNvSpPr/>
          <p:nvPr/>
        </p:nvSpPr>
        <p:spPr>
          <a:xfrm>
            <a:off x="532677" y="4072888"/>
            <a:ext cx="1357499" cy="319307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riment 6</a:t>
            </a: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77791903-0EC0-6746-9CDF-71B2319F9D4F}"/>
              </a:ext>
            </a:extLst>
          </p:cNvPr>
          <p:cNvSpPr/>
          <p:nvPr/>
        </p:nvSpPr>
        <p:spPr>
          <a:xfrm>
            <a:off x="532677" y="4475993"/>
            <a:ext cx="1357499" cy="319307"/>
          </a:xfrm>
          <a:prstGeom prst="rect">
            <a:avLst/>
          </a:prstGeom>
          <a:solidFill>
            <a:schemeClr val="bg1">
              <a:lumMod val="6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aluation 2</a:t>
            </a: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F7DC4244-E526-5342-9CC1-047DA981046F}"/>
              </a:ext>
            </a:extLst>
          </p:cNvPr>
          <p:cNvSpPr/>
          <p:nvPr/>
        </p:nvSpPr>
        <p:spPr>
          <a:xfrm>
            <a:off x="532677" y="4879098"/>
            <a:ext cx="1357499" cy="319307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riment 7</a:t>
            </a:r>
          </a:p>
        </p:txBody>
      </p:sp>
      <p:sp>
        <p:nvSpPr>
          <p:cNvPr id="135" name="Rectangle 134">
            <a:extLst>
              <a:ext uri="{FF2B5EF4-FFF2-40B4-BE49-F238E27FC236}">
                <a16:creationId xmlns:a16="http://schemas.microsoft.com/office/drawing/2014/main" id="{09B6D66F-6C79-304F-962B-D1CE2BCAC407}"/>
              </a:ext>
            </a:extLst>
          </p:cNvPr>
          <p:cNvSpPr/>
          <p:nvPr/>
        </p:nvSpPr>
        <p:spPr>
          <a:xfrm>
            <a:off x="532677" y="5282203"/>
            <a:ext cx="1357499" cy="319307"/>
          </a:xfrm>
          <a:prstGeom prst="rect">
            <a:avLst/>
          </a:prstGeom>
          <a:solidFill>
            <a:schemeClr val="bg1">
              <a:lumMod val="6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aluation 3</a:t>
            </a:r>
          </a:p>
        </p:txBody>
      </p:sp>
      <p:sp>
        <p:nvSpPr>
          <p:cNvPr id="180" name="Rectangle 179">
            <a:extLst>
              <a:ext uri="{FF2B5EF4-FFF2-40B4-BE49-F238E27FC236}">
                <a16:creationId xmlns:a16="http://schemas.microsoft.com/office/drawing/2014/main" id="{45B22365-DC42-AF4E-8CF8-3B7E0D55595F}"/>
              </a:ext>
            </a:extLst>
          </p:cNvPr>
          <p:cNvSpPr/>
          <p:nvPr/>
        </p:nvSpPr>
        <p:spPr>
          <a:xfrm>
            <a:off x="2070647" y="1654258"/>
            <a:ext cx="4367628" cy="319307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cuses on basic setup (categorical encodings only)</a:t>
            </a:r>
          </a:p>
        </p:txBody>
      </p:sp>
      <p:sp>
        <p:nvSpPr>
          <p:cNvPr id="181" name="Rectangle 180">
            <a:extLst>
              <a:ext uri="{FF2B5EF4-FFF2-40B4-BE49-F238E27FC236}">
                <a16:creationId xmlns:a16="http://schemas.microsoft.com/office/drawing/2014/main" id="{8AEAA2B6-C048-964C-B88C-B841BBA3851C}"/>
              </a:ext>
            </a:extLst>
          </p:cNvPr>
          <p:cNvSpPr/>
          <p:nvPr/>
        </p:nvSpPr>
        <p:spPr>
          <a:xfrm>
            <a:off x="2070647" y="2057363"/>
            <a:ext cx="4367628" cy="319307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sic setup + robust scaling</a:t>
            </a:r>
          </a:p>
        </p:txBody>
      </p:sp>
      <p:sp>
        <p:nvSpPr>
          <p:cNvPr id="182" name="Rectangle 181">
            <a:extLst>
              <a:ext uri="{FF2B5EF4-FFF2-40B4-BE49-F238E27FC236}">
                <a16:creationId xmlns:a16="http://schemas.microsoft.com/office/drawing/2014/main" id="{555725DA-4DA2-EE40-9A82-EA9DEAE9358D}"/>
              </a:ext>
            </a:extLst>
          </p:cNvPr>
          <p:cNvSpPr/>
          <p:nvPr/>
        </p:nvSpPr>
        <p:spPr>
          <a:xfrm>
            <a:off x="2070647" y="2460468"/>
            <a:ext cx="4367628" cy="319307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sic setup + equal frequency binning</a:t>
            </a:r>
          </a:p>
        </p:txBody>
      </p:sp>
      <p:sp>
        <p:nvSpPr>
          <p:cNvPr id="183" name="Rectangle 182">
            <a:extLst>
              <a:ext uri="{FF2B5EF4-FFF2-40B4-BE49-F238E27FC236}">
                <a16:creationId xmlns:a16="http://schemas.microsoft.com/office/drawing/2014/main" id="{E7ADE7D4-36E3-3748-A929-B7297C808CAE}"/>
              </a:ext>
            </a:extLst>
          </p:cNvPr>
          <p:cNvSpPr/>
          <p:nvPr/>
        </p:nvSpPr>
        <p:spPr>
          <a:xfrm>
            <a:off x="2070647" y="2863573"/>
            <a:ext cx="4367628" cy="319307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aluating Experiment 1 – 3 </a:t>
            </a:r>
          </a:p>
        </p:txBody>
      </p:sp>
      <p:sp>
        <p:nvSpPr>
          <p:cNvPr id="184" name="Rectangle 183">
            <a:extLst>
              <a:ext uri="{FF2B5EF4-FFF2-40B4-BE49-F238E27FC236}">
                <a16:creationId xmlns:a16="http://schemas.microsoft.com/office/drawing/2014/main" id="{52CF005A-C1E0-074D-BCCE-2007EEA601A7}"/>
              </a:ext>
            </a:extLst>
          </p:cNvPr>
          <p:cNvSpPr/>
          <p:nvPr/>
        </p:nvSpPr>
        <p:spPr>
          <a:xfrm>
            <a:off x="2070647" y="3266678"/>
            <a:ext cx="4367628" cy="319307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aluation result 1 + polynomial features</a:t>
            </a:r>
          </a:p>
        </p:txBody>
      </p:sp>
      <p:sp>
        <p:nvSpPr>
          <p:cNvPr id="185" name="Rectangle 184">
            <a:extLst>
              <a:ext uri="{FF2B5EF4-FFF2-40B4-BE49-F238E27FC236}">
                <a16:creationId xmlns:a16="http://schemas.microsoft.com/office/drawing/2014/main" id="{66F20F4F-FC28-CD43-970C-918EEF5F9D17}"/>
              </a:ext>
            </a:extLst>
          </p:cNvPr>
          <p:cNvSpPr/>
          <p:nvPr/>
        </p:nvSpPr>
        <p:spPr>
          <a:xfrm>
            <a:off x="2070647" y="3669783"/>
            <a:ext cx="4367628" cy="319307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aluation result 1 + NearMiss v3</a:t>
            </a:r>
          </a:p>
        </p:txBody>
      </p:sp>
      <p:sp>
        <p:nvSpPr>
          <p:cNvPr id="186" name="Rectangle 185">
            <a:extLst>
              <a:ext uri="{FF2B5EF4-FFF2-40B4-BE49-F238E27FC236}">
                <a16:creationId xmlns:a16="http://schemas.microsoft.com/office/drawing/2014/main" id="{FD722B6E-6535-FD48-83E3-EC4804CE1F48}"/>
              </a:ext>
            </a:extLst>
          </p:cNvPr>
          <p:cNvSpPr/>
          <p:nvPr/>
        </p:nvSpPr>
        <p:spPr>
          <a:xfrm>
            <a:off x="2070647" y="4072888"/>
            <a:ext cx="4367628" cy="319307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aluation result 2 + SMOTE</a:t>
            </a:r>
          </a:p>
        </p:txBody>
      </p:sp>
      <p:sp>
        <p:nvSpPr>
          <p:cNvPr id="187" name="Rectangle 186">
            <a:extLst>
              <a:ext uri="{FF2B5EF4-FFF2-40B4-BE49-F238E27FC236}">
                <a16:creationId xmlns:a16="http://schemas.microsoft.com/office/drawing/2014/main" id="{FDC99A35-5279-AE40-9FC9-E8B911AE6BB6}"/>
              </a:ext>
            </a:extLst>
          </p:cNvPr>
          <p:cNvSpPr/>
          <p:nvPr/>
        </p:nvSpPr>
        <p:spPr>
          <a:xfrm>
            <a:off x="2070647" y="4475993"/>
            <a:ext cx="4367628" cy="319307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aluating Experiment 4 – 6  </a:t>
            </a:r>
          </a:p>
        </p:txBody>
      </p:sp>
      <p:sp>
        <p:nvSpPr>
          <p:cNvPr id="188" name="Rectangle 187">
            <a:extLst>
              <a:ext uri="{FF2B5EF4-FFF2-40B4-BE49-F238E27FC236}">
                <a16:creationId xmlns:a16="http://schemas.microsoft.com/office/drawing/2014/main" id="{F4479E09-925E-AB4A-92A4-BF81088FBDBE}"/>
              </a:ext>
            </a:extLst>
          </p:cNvPr>
          <p:cNvSpPr/>
          <p:nvPr/>
        </p:nvSpPr>
        <p:spPr>
          <a:xfrm>
            <a:off x="2070647" y="4879098"/>
            <a:ext cx="4367628" cy="319307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lended model based on Evaluation 2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E1BAA9F9-59ED-F345-979E-AA175E418B4E}"/>
              </a:ext>
            </a:extLst>
          </p:cNvPr>
          <p:cNvGrpSpPr/>
          <p:nvPr/>
        </p:nvGrpSpPr>
        <p:grpSpPr>
          <a:xfrm>
            <a:off x="532678" y="2003888"/>
            <a:ext cx="6032598" cy="3236415"/>
            <a:chOff x="570777" y="2427489"/>
            <a:chExt cx="9578971" cy="3236415"/>
          </a:xfrm>
        </p:grpSpPr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9FE794C2-5682-1D4E-B69D-3A16B5295EC4}"/>
                </a:ext>
              </a:extLst>
            </p:cNvPr>
            <p:cNvCxnSpPr>
              <a:cxnSpLocks/>
            </p:cNvCxnSpPr>
            <p:nvPr/>
          </p:nvCxnSpPr>
          <p:spPr>
            <a:xfrm>
              <a:off x="570777" y="2427489"/>
              <a:ext cx="9578971" cy="0"/>
            </a:xfrm>
            <a:prstGeom prst="line">
              <a:avLst/>
            </a:prstGeom>
            <a:ln w="15875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50C6B497-3AB1-994D-87F7-4D10F743139A}"/>
                </a:ext>
              </a:extLst>
            </p:cNvPr>
            <p:cNvCxnSpPr>
              <a:cxnSpLocks/>
            </p:cNvCxnSpPr>
            <p:nvPr/>
          </p:nvCxnSpPr>
          <p:spPr>
            <a:xfrm>
              <a:off x="570777" y="2830594"/>
              <a:ext cx="9578971" cy="0"/>
            </a:xfrm>
            <a:prstGeom prst="line">
              <a:avLst/>
            </a:prstGeom>
            <a:ln w="15875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5346D317-23A2-B545-BC46-2E16D1767DBB}"/>
                </a:ext>
              </a:extLst>
            </p:cNvPr>
            <p:cNvCxnSpPr>
              <a:cxnSpLocks/>
            </p:cNvCxnSpPr>
            <p:nvPr/>
          </p:nvCxnSpPr>
          <p:spPr>
            <a:xfrm>
              <a:off x="570777" y="3245274"/>
              <a:ext cx="9578971" cy="0"/>
            </a:xfrm>
            <a:prstGeom prst="line">
              <a:avLst/>
            </a:prstGeom>
            <a:ln w="15875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09E72430-36D3-3F42-B1C8-330C53A5F462}"/>
                </a:ext>
              </a:extLst>
            </p:cNvPr>
            <p:cNvCxnSpPr>
              <a:cxnSpLocks/>
            </p:cNvCxnSpPr>
            <p:nvPr/>
          </p:nvCxnSpPr>
          <p:spPr>
            <a:xfrm>
              <a:off x="570777" y="3648379"/>
              <a:ext cx="9578971" cy="0"/>
            </a:xfrm>
            <a:prstGeom prst="line">
              <a:avLst/>
            </a:prstGeom>
            <a:ln w="15875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41661DCA-1CEE-6F43-8F97-8866F21F37BA}"/>
                </a:ext>
              </a:extLst>
            </p:cNvPr>
            <p:cNvCxnSpPr>
              <a:cxnSpLocks/>
            </p:cNvCxnSpPr>
            <p:nvPr/>
          </p:nvCxnSpPr>
          <p:spPr>
            <a:xfrm>
              <a:off x="570777" y="4051484"/>
              <a:ext cx="9578971" cy="0"/>
            </a:xfrm>
            <a:prstGeom prst="line">
              <a:avLst/>
            </a:prstGeom>
            <a:ln w="15875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C1AC4544-E1F8-4B4C-8DF6-E78B672E121E}"/>
                </a:ext>
              </a:extLst>
            </p:cNvPr>
            <p:cNvCxnSpPr>
              <a:cxnSpLocks/>
            </p:cNvCxnSpPr>
            <p:nvPr/>
          </p:nvCxnSpPr>
          <p:spPr>
            <a:xfrm>
              <a:off x="570777" y="4454589"/>
              <a:ext cx="9578971" cy="0"/>
            </a:xfrm>
            <a:prstGeom prst="line">
              <a:avLst/>
            </a:prstGeom>
            <a:ln w="15875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C36EFA19-0DB4-3D47-B506-6C73A77362FA}"/>
                </a:ext>
              </a:extLst>
            </p:cNvPr>
            <p:cNvCxnSpPr>
              <a:cxnSpLocks/>
            </p:cNvCxnSpPr>
            <p:nvPr/>
          </p:nvCxnSpPr>
          <p:spPr>
            <a:xfrm>
              <a:off x="570777" y="4857694"/>
              <a:ext cx="9578971" cy="0"/>
            </a:xfrm>
            <a:prstGeom prst="line">
              <a:avLst/>
            </a:prstGeom>
            <a:ln w="15875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508500A6-14F2-0A4B-99E7-E385D5E0C3A2}"/>
                </a:ext>
              </a:extLst>
            </p:cNvPr>
            <p:cNvCxnSpPr>
              <a:cxnSpLocks/>
            </p:cNvCxnSpPr>
            <p:nvPr/>
          </p:nvCxnSpPr>
          <p:spPr>
            <a:xfrm>
              <a:off x="570777" y="5260799"/>
              <a:ext cx="9578971" cy="0"/>
            </a:xfrm>
            <a:prstGeom prst="line">
              <a:avLst/>
            </a:prstGeom>
            <a:ln w="15875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AA0A8EDA-2944-F64C-986A-BBD726BA15A7}"/>
                </a:ext>
              </a:extLst>
            </p:cNvPr>
            <p:cNvCxnSpPr>
              <a:cxnSpLocks/>
            </p:cNvCxnSpPr>
            <p:nvPr/>
          </p:nvCxnSpPr>
          <p:spPr>
            <a:xfrm>
              <a:off x="570777" y="5663904"/>
              <a:ext cx="9578971" cy="0"/>
            </a:xfrm>
            <a:prstGeom prst="line">
              <a:avLst/>
            </a:prstGeom>
            <a:ln w="15875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38" name="Group 237">
            <a:extLst>
              <a:ext uri="{FF2B5EF4-FFF2-40B4-BE49-F238E27FC236}">
                <a16:creationId xmlns:a16="http://schemas.microsoft.com/office/drawing/2014/main" id="{EF1CAEF3-867C-DC4A-9BC7-ABA030C86353}"/>
              </a:ext>
            </a:extLst>
          </p:cNvPr>
          <p:cNvGrpSpPr/>
          <p:nvPr/>
        </p:nvGrpSpPr>
        <p:grpSpPr>
          <a:xfrm>
            <a:off x="456477" y="1130596"/>
            <a:ext cx="1428618" cy="390875"/>
            <a:chOff x="2041269" y="1624719"/>
            <a:chExt cx="4744966" cy="390875"/>
          </a:xfrm>
        </p:grpSpPr>
        <p:sp>
          <p:nvSpPr>
            <p:cNvPr id="239" name="Rectangle 238">
              <a:extLst>
                <a:ext uri="{FF2B5EF4-FFF2-40B4-BE49-F238E27FC236}">
                  <a16:creationId xmlns:a16="http://schemas.microsoft.com/office/drawing/2014/main" id="{FA39ABE0-652F-7F40-B651-A8E53AA25647}"/>
                </a:ext>
              </a:extLst>
            </p:cNvPr>
            <p:cNvSpPr/>
            <p:nvPr/>
          </p:nvSpPr>
          <p:spPr>
            <a:xfrm>
              <a:off x="2041269" y="1624719"/>
              <a:ext cx="4508754" cy="33361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20000"/>
                </a:lnSpc>
                <a:buClr>
                  <a:schemeClr val="accent1"/>
                </a:buClr>
              </a:pPr>
              <a:r>
                <a:rPr lang="en-US" sz="1400" b="1" dirty="0">
                  <a:latin typeface="Arial" panose="020B0604020202020204" pitchFamily="34" charset="0"/>
                  <a:cs typeface="Arial" panose="020B0604020202020204" pitchFamily="34" charset="0"/>
                </a:rPr>
                <a:t>Name</a:t>
              </a:r>
            </a:p>
          </p:txBody>
        </p:sp>
        <p:cxnSp>
          <p:nvCxnSpPr>
            <p:cNvPr id="240" name="Straight Connector 239">
              <a:extLst>
                <a:ext uri="{FF2B5EF4-FFF2-40B4-BE49-F238E27FC236}">
                  <a16:creationId xmlns:a16="http://schemas.microsoft.com/office/drawing/2014/main" id="{05BBD63E-CA1A-1449-96B3-87499DA735B2}"/>
                </a:ext>
              </a:extLst>
            </p:cNvPr>
            <p:cNvCxnSpPr>
              <a:cxnSpLocks/>
            </p:cNvCxnSpPr>
            <p:nvPr/>
          </p:nvCxnSpPr>
          <p:spPr>
            <a:xfrm>
              <a:off x="2294355" y="2015594"/>
              <a:ext cx="4491880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A82ED457-B5C6-1049-B598-BE2B8BA6F0E4}"/>
              </a:ext>
            </a:extLst>
          </p:cNvPr>
          <p:cNvCxnSpPr>
            <a:cxnSpLocks/>
          </p:cNvCxnSpPr>
          <p:nvPr/>
        </p:nvCxnSpPr>
        <p:spPr>
          <a:xfrm>
            <a:off x="515031" y="5634003"/>
            <a:ext cx="6066745" cy="0"/>
          </a:xfrm>
          <a:prstGeom prst="line">
            <a:avLst/>
          </a:prstGeom>
          <a:ln w="15875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tangle 67">
            <a:extLst>
              <a:ext uri="{FF2B5EF4-FFF2-40B4-BE49-F238E27FC236}">
                <a16:creationId xmlns:a16="http://schemas.microsoft.com/office/drawing/2014/main" id="{88106F63-CE49-144E-9572-B382000C0384}"/>
              </a:ext>
            </a:extLst>
          </p:cNvPr>
          <p:cNvSpPr/>
          <p:nvPr/>
        </p:nvSpPr>
        <p:spPr>
          <a:xfrm>
            <a:off x="2070647" y="5257437"/>
            <a:ext cx="4367628" cy="319307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aluating best model vs blended model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113EB67B-C3E5-1B43-B902-6615259C4792}"/>
              </a:ext>
            </a:extLst>
          </p:cNvPr>
          <p:cNvSpPr/>
          <p:nvPr/>
        </p:nvSpPr>
        <p:spPr>
          <a:xfrm>
            <a:off x="532677" y="5691263"/>
            <a:ext cx="1357499" cy="319307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riment 8</a:t>
            </a: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CEEFBDB1-0203-234D-AC03-E4C64D3045F2}"/>
              </a:ext>
            </a:extLst>
          </p:cNvPr>
          <p:cNvSpPr/>
          <p:nvPr/>
        </p:nvSpPr>
        <p:spPr>
          <a:xfrm>
            <a:off x="2070646" y="5691897"/>
            <a:ext cx="4609553" cy="319307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aluation result 3 + NearMiss v3 (standalone model only)</a:t>
            </a:r>
          </a:p>
        </p:txBody>
      </p: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8821DBEF-A20F-FF4C-A8F0-535DE41CDB02}"/>
              </a:ext>
            </a:extLst>
          </p:cNvPr>
          <p:cNvCxnSpPr>
            <a:cxnSpLocks/>
          </p:cNvCxnSpPr>
          <p:nvPr/>
        </p:nvCxnSpPr>
        <p:spPr>
          <a:xfrm flipV="1">
            <a:off x="515031" y="6044558"/>
            <a:ext cx="6066745" cy="35608"/>
          </a:xfrm>
          <a:prstGeom prst="line">
            <a:avLst/>
          </a:prstGeom>
          <a:ln w="15875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2" name="Picture 81">
            <a:extLst>
              <a:ext uri="{FF2B5EF4-FFF2-40B4-BE49-F238E27FC236}">
                <a16:creationId xmlns:a16="http://schemas.microsoft.com/office/drawing/2014/main" id="{DE864CA5-92BC-5D45-A171-F9256D954857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25802" t="27263" r="19964" b="7703"/>
          <a:stretch/>
        </p:blipFill>
        <p:spPr>
          <a:xfrm>
            <a:off x="6811859" y="1574625"/>
            <a:ext cx="5070564" cy="4698464"/>
          </a:xfrm>
          <a:prstGeom prst="rect">
            <a:avLst/>
          </a:prstGeom>
        </p:spPr>
      </p:pic>
      <p:grpSp>
        <p:nvGrpSpPr>
          <p:cNvPr id="86" name="Group 85">
            <a:extLst>
              <a:ext uri="{FF2B5EF4-FFF2-40B4-BE49-F238E27FC236}">
                <a16:creationId xmlns:a16="http://schemas.microsoft.com/office/drawing/2014/main" id="{41274172-1930-E74E-8714-FF81D94990F6}"/>
              </a:ext>
            </a:extLst>
          </p:cNvPr>
          <p:cNvGrpSpPr/>
          <p:nvPr/>
        </p:nvGrpSpPr>
        <p:grpSpPr>
          <a:xfrm>
            <a:off x="2172970" y="1126491"/>
            <a:ext cx="4408806" cy="390875"/>
            <a:chOff x="2294355" y="1624719"/>
            <a:chExt cx="4508755" cy="390875"/>
          </a:xfrm>
        </p:grpSpPr>
        <p:sp>
          <p:nvSpPr>
            <p:cNvPr id="87" name="Rectangle 86">
              <a:extLst>
                <a:ext uri="{FF2B5EF4-FFF2-40B4-BE49-F238E27FC236}">
                  <a16:creationId xmlns:a16="http://schemas.microsoft.com/office/drawing/2014/main" id="{A806FBCF-8CCA-3E44-BE8A-5C41D6851734}"/>
                </a:ext>
              </a:extLst>
            </p:cNvPr>
            <p:cNvSpPr/>
            <p:nvPr/>
          </p:nvSpPr>
          <p:spPr>
            <a:xfrm>
              <a:off x="2294355" y="1624719"/>
              <a:ext cx="4508755" cy="33361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20000"/>
                </a:lnSpc>
                <a:buClr>
                  <a:schemeClr val="accent1"/>
                </a:buClr>
              </a:pPr>
              <a:r>
                <a:rPr lang="en-US" sz="1400" b="1" dirty="0">
                  <a:latin typeface="Arial" panose="020B0604020202020204" pitchFamily="34" charset="0"/>
                  <a:cs typeface="Arial" panose="020B0604020202020204" pitchFamily="34" charset="0"/>
                </a:rPr>
                <a:t>Setup</a:t>
              </a:r>
            </a:p>
          </p:txBody>
        </p:sp>
        <p:cxnSp>
          <p:nvCxnSpPr>
            <p:cNvPr id="88" name="Straight Connector 87">
              <a:extLst>
                <a:ext uri="{FF2B5EF4-FFF2-40B4-BE49-F238E27FC236}">
                  <a16:creationId xmlns:a16="http://schemas.microsoft.com/office/drawing/2014/main" id="{86EF7EA2-B731-4346-BD0D-1962A9D655DB}"/>
                </a:ext>
              </a:extLst>
            </p:cNvPr>
            <p:cNvCxnSpPr>
              <a:cxnSpLocks/>
            </p:cNvCxnSpPr>
            <p:nvPr/>
          </p:nvCxnSpPr>
          <p:spPr>
            <a:xfrm>
              <a:off x="2294355" y="2015594"/>
              <a:ext cx="4491880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1" name="Group 90">
            <a:extLst>
              <a:ext uri="{FF2B5EF4-FFF2-40B4-BE49-F238E27FC236}">
                <a16:creationId xmlns:a16="http://schemas.microsoft.com/office/drawing/2014/main" id="{5D3657EE-1DF4-E346-BE89-0A63F651F5F8}"/>
              </a:ext>
            </a:extLst>
          </p:cNvPr>
          <p:cNvGrpSpPr/>
          <p:nvPr/>
        </p:nvGrpSpPr>
        <p:grpSpPr>
          <a:xfrm>
            <a:off x="7058443" y="1126491"/>
            <a:ext cx="4408806" cy="390875"/>
            <a:chOff x="2294355" y="1624719"/>
            <a:chExt cx="4508755" cy="390875"/>
          </a:xfrm>
        </p:grpSpPr>
        <p:sp>
          <p:nvSpPr>
            <p:cNvPr id="92" name="Rectangle 91">
              <a:extLst>
                <a:ext uri="{FF2B5EF4-FFF2-40B4-BE49-F238E27FC236}">
                  <a16:creationId xmlns:a16="http://schemas.microsoft.com/office/drawing/2014/main" id="{7E770B56-E7B8-B64C-9F24-FD8B54FC8B12}"/>
                </a:ext>
              </a:extLst>
            </p:cNvPr>
            <p:cNvSpPr/>
            <p:nvPr/>
          </p:nvSpPr>
          <p:spPr>
            <a:xfrm>
              <a:off x="2294355" y="1624719"/>
              <a:ext cx="4508755" cy="33361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20000"/>
                </a:lnSpc>
                <a:buClr>
                  <a:schemeClr val="accent1"/>
                </a:buClr>
              </a:pPr>
              <a:r>
                <a:rPr lang="en-US" sz="1400" b="1" dirty="0">
                  <a:latin typeface="Arial" panose="020B0604020202020204" pitchFamily="34" charset="0"/>
                  <a:cs typeface="Arial" panose="020B0604020202020204" pitchFamily="34" charset="0"/>
                </a:rPr>
                <a:t>Experiment flow</a:t>
              </a:r>
            </a:p>
          </p:txBody>
        </p: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911E3E8B-24AD-FA4C-B4EA-7C4CF3CA6BB2}"/>
                </a:ext>
              </a:extLst>
            </p:cNvPr>
            <p:cNvCxnSpPr>
              <a:cxnSpLocks/>
            </p:cNvCxnSpPr>
            <p:nvPr/>
          </p:nvCxnSpPr>
          <p:spPr>
            <a:xfrm>
              <a:off x="2294355" y="2015594"/>
              <a:ext cx="4491880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4" name="Title 1">
            <a:extLst>
              <a:ext uri="{FF2B5EF4-FFF2-40B4-BE49-F238E27FC236}">
                <a16:creationId xmlns:a16="http://schemas.microsoft.com/office/drawing/2014/main" id="{7468E617-69B8-3349-8E49-F02495789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584" y="584898"/>
            <a:ext cx="11278488" cy="568325"/>
          </a:xfrm>
        </p:spPr>
        <p:txBody>
          <a:bodyPr>
            <a:noAutofit/>
          </a:bodyPr>
          <a:lstStyle/>
          <a:p>
            <a:r>
              <a:rPr lang="en-US" sz="2800" b="1" dirty="0"/>
              <a:t>Experiment design: Experiment flow</a:t>
            </a: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73B4B952-1034-7145-848F-D7F350E5B667}"/>
              </a:ext>
            </a:extLst>
          </p:cNvPr>
          <p:cNvSpPr txBox="1"/>
          <p:nvPr/>
        </p:nvSpPr>
        <p:spPr>
          <a:xfrm>
            <a:off x="10290659" y="315386"/>
            <a:ext cx="14542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d-ID" dirty="0">
                <a:solidFill>
                  <a:srgbClr val="213C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actal Labs</a:t>
            </a:r>
            <a:endParaRPr lang="en-US" b="1" dirty="0">
              <a:solidFill>
                <a:srgbClr val="213C8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6" name="Picture 95">
            <a:extLst>
              <a:ext uri="{FF2B5EF4-FFF2-40B4-BE49-F238E27FC236}">
                <a16:creationId xmlns:a16="http://schemas.microsoft.com/office/drawing/2014/main" id="{EED1289A-ED4A-0A4E-903F-B72EA63695D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976515" y="308824"/>
            <a:ext cx="352244" cy="3522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66881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5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5EF750-22C4-D740-AD58-3FC36618E4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434" y="559498"/>
            <a:ext cx="11278488" cy="568325"/>
          </a:xfrm>
        </p:spPr>
        <p:txBody>
          <a:bodyPr>
            <a:noAutofit/>
          </a:bodyPr>
          <a:lstStyle/>
          <a:p>
            <a:r>
              <a:rPr lang="en-US" sz="2800" b="1" dirty="0"/>
              <a:t>Naïve Bayes is the best performing model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AB58BF9-5934-F146-ADB9-B24D81F7175D}"/>
              </a:ext>
            </a:extLst>
          </p:cNvPr>
          <p:cNvSpPr/>
          <p:nvPr/>
        </p:nvSpPr>
        <p:spPr>
          <a:xfrm>
            <a:off x="455892" y="1513840"/>
            <a:ext cx="6940351" cy="46736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bIns="108000" rtlCol="0" anchor="t"/>
          <a:lstStyle/>
          <a:p>
            <a:pPr>
              <a:lnSpc>
                <a:spcPct val="120000"/>
              </a:lnSpc>
            </a:pPr>
            <a:endParaRPr lang="en-US" sz="1400" dirty="0">
              <a:solidFill>
                <a:sysClr val="windowText" lastClr="000000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67AFB44-AE89-6F4B-B4C9-0D16E617D77D}"/>
              </a:ext>
            </a:extLst>
          </p:cNvPr>
          <p:cNvSpPr/>
          <p:nvPr/>
        </p:nvSpPr>
        <p:spPr>
          <a:xfrm>
            <a:off x="454584" y="1501775"/>
            <a:ext cx="6941659" cy="40005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ïve Bayes algorithm performed the best across experiments (based on </a:t>
            </a:r>
            <a:r>
              <a:rPr lang="en-US" sz="1400" b="1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2</a:t>
            </a:r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670F763-143C-404B-88E1-DD25EA89A6D8}"/>
              </a:ext>
            </a:extLst>
          </p:cNvPr>
          <p:cNvSpPr/>
          <p:nvPr/>
        </p:nvSpPr>
        <p:spPr>
          <a:xfrm>
            <a:off x="7530616" y="1501140"/>
            <a:ext cx="4202457" cy="401289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ight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D00DE6A-C954-1A43-8182-5D965F24DA6D}"/>
              </a:ext>
            </a:extLst>
          </p:cNvPr>
          <p:cNvSpPr/>
          <p:nvPr/>
        </p:nvSpPr>
        <p:spPr>
          <a:xfrm>
            <a:off x="7603854" y="2088387"/>
            <a:ext cx="4106067" cy="3925952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ïve Bayes appears to be a strong baseline across all experiments. It performs well (</a:t>
            </a:r>
            <a:r>
              <a:rPr lang="en-US" sz="14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2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core above 0.69) in 6 experiments with the best performance at 0.7186.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semble method with soft voting achieves an </a:t>
            </a:r>
            <a:r>
              <a:rPr lang="en-US" sz="14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2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core of 0.7084 which is slightly lower than the best model (0.7186).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 the best model among the 7th experiments remains Naïve Bayes with no specific treatments on class imbalance issue, another experiment (Experiment 8) was setup, and </a:t>
            </a:r>
            <a:r>
              <a:rPr lang="en-US" sz="1400" b="1" dirty="0">
                <a:solidFill>
                  <a:srgbClr val="1C3EC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ave the highest </a:t>
            </a:r>
            <a:r>
              <a:rPr lang="en-US" sz="1400" b="1" i="1" dirty="0">
                <a:solidFill>
                  <a:srgbClr val="1C3EC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2</a:t>
            </a:r>
            <a:r>
              <a:rPr lang="en-US" sz="1400" b="1" dirty="0">
                <a:solidFill>
                  <a:srgbClr val="1C3EC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core</a:t>
            </a:r>
            <a:r>
              <a:rPr lang="en-US" sz="1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0.7267).</a:t>
            </a:r>
          </a:p>
        </p:txBody>
      </p:sp>
      <p:sp>
        <p:nvSpPr>
          <p:cNvPr id="28" name="Slide Number Placeholder 27">
            <a:extLst>
              <a:ext uri="{FF2B5EF4-FFF2-40B4-BE49-F238E27FC236}">
                <a16:creationId xmlns:a16="http://schemas.microsoft.com/office/drawing/2014/main" id="{D9D0CBE2-64C0-D946-A876-F195D73F64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584C5F-AC8F-AB45-98CD-0DC496F3921E}" type="slidenum">
              <a:rPr lang="en-US" smtClean="0"/>
              <a:t>5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485AACF-B422-FC4D-8726-E88EADF12384}"/>
              </a:ext>
            </a:extLst>
          </p:cNvPr>
          <p:cNvSpPr/>
          <p:nvPr/>
        </p:nvSpPr>
        <p:spPr>
          <a:xfrm>
            <a:off x="795867" y="2565400"/>
            <a:ext cx="660400" cy="34489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9CCB0A7-11D1-8143-968E-06C70DBB829B}"/>
              </a:ext>
            </a:extLst>
          </p:cNvPr>
          <p:cNvSpPr/>
          <p:nvPr/>
        </p:nvSpPr>
        <p:spPr>
          <a:xfrm>
            <a:off x="1457297" y="2565400"/>
            <a:ext cx="660400" cy="34489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7A97E33-ED4E-9742-9798-C5EF23EBB39C}"/>
              </a:ext>
            </a:extLst>
          </p:cNvPr>
          <p:cNvSpPr/>
          <p:nvPr/>
        </p:nvSpPr>
        <p:spPr>
          <a:xfrm>
            <a:off x="2162092" y="2565400"/>
            <a:ext cx="660400" cy="34489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1112FDF-A5BB-5E4C-A969-39C5904778F3}"/>
              </a:ext>
            </a:extLst>
          </p:cNvPr>
          <p:cNvSpPr/>
          <p:nvPr/>
        </p:nvSpPr>
        <p:spPr>
          <a:xfrm>
            <a:off x="2824490" y="2565399"/>
            <a:ext cx="660400" cy="34489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E3F3C58-0415-7340-8D19-7305D32553DF}"/>
              </a:ext>
            </a:extLst>
          </p:cNvPr>
          <p:cNvSpPr/>
          <p:nvPr/>
        </p:nvSpPr>
        <p:spPr>
          <a:xfrm>
            <a:off x="3530315" y="2565399"/>
            <a:ext cx="660400" cy="34489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F6AE24C-55EA-EF4E-B7D7-B0BC43F5C5B4}"/>
              </a:ext>
            </a:extLst>
          </p:cNvPr>
          <p:cNvSpPr/>
          <p:nvPr/>
        </p:nvSpPr>
        <p:spPr>
          <a:xfrm>
            <a:off x="4208679" y="2565399"/>
            <a:ext cx="660400" cy="34489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6F7B4C8-1A09-6F4D-B212-604951631080}"/>
              </a:ext>
            </a:extLst>
          </p:cNvPr>
          <p:cNvSpPr/>
          <p:nvPr/>
        </p:nvSpPr>
        <p:spPr>
          <a:xfrm>
            <a:off x="5059691" y="2565398"/>
            <a:ext cx="660400" cy="34489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956AB26-059C-5C4A-A0B0-6514ED3D425F}"/>
              </a:ext>
            </a:extLst>
          </p:cNvPr>
          <p:cNvSpPr/>
          <p:nvPr/>
        </p:nvSpPr>
        <p:spPr>
          <a:xfrm>
            <a:off x="5897767" y="2565398"/>
            <a:ext cx="660400" cy="34489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A49B4DE-AF3A-1F42-97CF-D1F5D25401DC}"/>
              </a:ext>
            </a:extLst>
          </p:cNvPr>
          <p:cNvSpPr/>
          <p:nvPr/>
        </p:nvSpPr>
        <p:spPr>
          <a:xfrm>
            <a:off x="6735843" y="2565398"/>
            <a:ext cx="660400" cy="34489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E68E9AB-E386-0A48-9FC5-EF961576C43F}"/>
              </a:ext>
            </a:extLst>
          </p:cNvPr>
          <p:cNvSpPr/>
          <p:nvPr/>
        </p:nvSpPr>
        <p:spPr>
          <a:xfrm>
            <a:off x="7567392" y="2565398"/>
            <a:ext cx="660400" cy="34489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F4B3325B-5BE8-5747-8607-4E6DFED81D87}"/>
              </a:ext>
            </a:extLst>
          </p:cNvPr>
          <p:cNvSpPr txBox="1"/>
          <p:nvPr/>
        </p:nvSpPr>
        <p:spPr>
          <a:xfrm>
            <a:off x="10290659" y="315386"/>
            <a:ext cx="14542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d-ID" dirty="0">
                <a:solidFill>
                  <a:srgbClr val="213C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actal Labs</a:t>
            </a:r>
            <a:endParaRPr lang="en-US" b="1" dirty="0">
              <a:solidFill>
                <a:srgbClr val="213C8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DF247BF3-35EE-1343-9627-81DE3FE499F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76515" y="308824"/>
            <a:ext cx="352244" cy="352244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56E7E34F-AE00-C643-8DEF-8C41DBE3CBB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0727" t="28354" r="21636" b="9764"/>
          <a:stretch/>
        </p:blipFill>
        <p:spPr>
          <a:xfrm>
            <a:off x="1040953" y="1987871"/>
            <a:ext cx="5549299" cy="46039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17457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5EF750-22C4-D740-AD58-3FC36618E4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584" y="559498"/>
            <a:ext cx="11278488" cy="568325"/>
          </a:xfrm>
        </p:spPr>
        <p:txBody>
          <a:bodyPr>
            <a:noAutofit/>
          </a:bodyPr>
          <a:lstStyle/>
          <a:p>
            <a:r>
              <a:rPr lang="en-US" sz="2800" b="1" dirty="0"/>
              <a:t>Outlin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67AFB44-AE89-6F4B-B4C9-0D16E617D77D}"/>
              </a:ext>
            </a:extLst>
          </p:cNvPr>
          <p:cNvSpPr/>
          <p:nvPr/>
        </p:nvSpPr>
        <p:spPr>
          <a:xfrm>
            <a:off x="1051420" y="1702746"/>
            <a:ext cx="523316" cy="56657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>
                <a:solidFill>
                  <a:schemeClr val="bg1">
                    <a:lumMod val="65000"/>
                  </a:schemeClr>
                </a:solidFill>
              </a:rPr>
              <a:t>1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670F763-143C-404B-88E1-DD25EA89A6D8}"/>
              </a:ext>
            </a:extLst>
          </p:cNvPr>
          <p:cNvSpPr/>
          <p:nvPr/>
        </p:nvSpPr>
        <p:spPr>
          <a:xfrm>
            <a:off x="1672485" y="1702111"/>
            <a:ext cx="9212295" cy="568325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7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riment design &amp; results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4FB68D62-CFFC-2A40-B6D9-AB78E4D28A85}"/>
              </a:ext>
            </a:extLst>
          </p:cNvPr>
          <p:cNvSpPr/>
          <p:nvPr/>
        </p:nvSpPr>
        <p:spPr>
          <a:xfrm>
            <a:off x="1051420" y="2493855"/>
            <a:ext cx="523316" cy="56657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b="1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ED7EEFF1-E6CE-A84B-B6A4-DD188851353D}"/>
              </a:ext>
            </a:extLst>
          </p:cNvPr>
          <p:cNvSpPr/>
          <p:nvPr/>
        </p:nvSpPr>
        <p:spPr>
          <a:xfrm>
            <a:off x="1672485" y="2493220"/>
            <a:ext cx="9212295" cy="568325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st model’s evaluation: How good the model works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5084A05-7B89-AE4A-8DA2-922AC90E86DF}"/>
              </a:ext>
            </a:extLst>
          </p:cNvPr>
          <p:cNvSpPr/>
          <p:nvPr/>
        </p:nvSpPr>
        <p:spPr>
          <a:xfrm>
            <a:off x="1051420" y="3284964"/>
            <a:ext cx="523316" cy="56657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b="1" dirty="0">
                <a:solidFill>
                  <a:schemeClr val="bg1">
                    <a:lumMod val="65000"/>
                  </a:schemeClr>
                </a:solidFill>
              </a:rPr>
              <a:t>3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42242493-DFCC-4346-94B5-A5BC8BCE8773}"/>
              </a:ext>
            </a:extLst>
          </p:cNvPr>
          <p:cNvSpPr/>
          <p:nvPr/>
        </p:nvSpPr>
        <p:spPr>
          <a:xfrm>
            <a:off x="1672485" y="3284329"/>
            <a:ext cx="9212295" cy="568325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st model’s explanation: How the best model works</a:t>
            </a:r>
          </a:p>
        </p:txBody>
      </p:sp>
      <p:sp>
        <p:nvSpPr>
          <p:cNvPr id="36" name="Slide Number Placeholder 35">
            <a:extLst>
              <a:ext uri="{FF2B5EF4-FFF2-40B4-BE49-F238E27FC236}">
                <a16:creationId xmlns:a16="http://schemas.microsoft.com/office/drawing/2014/main" id="{C8DA6336-0887-A946-AAC3-582A77B43E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584C5F-AC8F-AB45-98CD-0DC496F3921E}" type="slidenum">
              <a:rPr lang="en-US" smtClean="0"/>
              <a:t>6</a:t>
            </a:fld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54FCD31-0C7E-9144-98AC-0703EB00A7A9}"/>
              </a:ext>
            </a:extLst>
          </p:cNvPr>
          <p:cNvSpPr/>
          <p:nvPr/>
        </p:nvSpPr>
        <p:spPr>
          <a:xfrm>
            <a:off x="1051420" y="4027695"/>
            <a:ext cx="523316" cy="56657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b="1" dirty="0">
                <a:solidFill>
                  <a:schemeClr val="bg1">
                    <a:lumMod val="65000"/>
                  </a:schemeClr>
                </a:solidFill>
              </a:rPr>
              <a:t>4</a:t>
            </a:r>
            <a:endParaRPr lang="en-US" sz="4800" b="1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E2685E6-10D2-C345-ABDC-2913C5791F5B}"/>
              </a:ext>
            </a:extLst>
          </p:cNvPr>
          <p:cNvSpPr/>
          <p:nvPr/>
        </p:nvSpPr>
        <p:spPr>
          <a:xfrm>
            <a:off x="1672485" y="4027060"/>
            <a:ext cx="9212295" cy="568325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clusions and recommendation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F43F99F-1353-A94B-A769-08F74D4B6D48}"/>
              </a:ext>
            </a:extLst>
          </p:cNvPr>
          <p:cNvSpPr txBox="1"/>
          <p:nvPr/>
        </p:nvSpPr>
        <p:spPr>
          <a:xfrm>
            <a:off x="10290659" y="315386"/>
            <a:ext cx="14542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d-ID" dirty="0">
                <a:solidFill>
                  <a:srgbClr val="213C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actal Labs</a:t>
            </a:r>
            <a:endParaRPr lang="en-US" b="1" dirty="0">
              <a:solidFill>
                <a:srgbClr val="213C8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4EC0A974-3B23-A349-87CF-44BD611CF43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76515" y="308824"/>
            <a:ext cx="352244" cy="3522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50002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5EF750-22C4-D740-AD58-3FC36618E4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584" y="559498"/>
            <a:ext cx="11278488" cy="568325"/>
          </a:xfrm>
        </p:spPr>
        <p:txBody>
          <a:bodyPr>
            <a:noAutofit/>
          </a:bodyPr>
          <a:lstStyle/>
          <a:p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ROC-AUC plot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67AFB44-AE89-6F4B-B4C9-0D16E617D77D}"/>
              </a:ext>
            </a:extLst>
          </p:cNvPr>
          <p:cNvSpPr/>
          <p:nvPr/>
        </p:nvSpPr>
        <p:spPr>
          <a:xfrm>
            <a:off x="454585" y="1501775"/>
            <a:ext cx="7140015" cy="40005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B model is good at both predicting cancellations and non-cancellation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944BD5E-FC98-CA44-9E21-B618B051BD9C}"/>
              </a:ext>
            </a:extLst>
          </p:cNvPr>
          <p:cNvSpPr/>
          <p:nvPr/>
        </p:nvSpPr>
        <p:spPr>
          <a:xfrm>
            <a:off x="8780663" y="1513840"/>
            <a:ext cx="2952411" cy="4673757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bIns="108000" rtlCol="0" anchor="t"/>
          <a:lstStyle/>
          <a:p>
            <a:pPr>
              <a:lnSpc>
                <a:spcPct val="120000"/>
              </a:lnSpc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670F763-143C-404B-88E1-DD25EA89A6D8}"/>
              </a:ext>
            </a:extLst>
          </p:cNvPr>
          <p:cNvSpPr/>
          <p:nvPr/>
        </p:nvSpPr>
        <p:spPr>
          <a:xfrm>
            <a:off x="7772296" y="1501140"/>
            <a:ext cx="3960777" cy="401289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ight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D00DE6A-C954-1A43-8182-5D965F24DA6D}"/>
              </a:ext>
            </a:extLst>
          </p:cNvPr>
          <p:cNvSpPr/>
          <p:nvPr/>
        </p:nvSpPr>
        <p:spPr>
          <a:xfrm>
            <a:off x="7772296" y="1916936"/>
            <a:ext cx="3972607" cy="4439414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AUC for class 1 (Canceled) is 0.76, indicating the model is reasonably good at distinguishing between canceled and non-canceled bookings. Ideally, a higher AUC would improve true cancellation detection.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class 0 (Not Canceled), the AUC is 0.82, suggesting the model is quite effective at identifying non-canceled bookings. While this is less critical for reducing type II errors, it still demonstrates good performance.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micro-average AUC is 0.70, considering all classes together, and the macro-average AUC is 0.79, averaging the metric independently for each class. 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short, the model </a:t>
            </a:r>
            <a:r>
              <a:rPr lang="en-US" sz="1400" b="1" dirty="0">
                <a:solidFill>
                  <a:srgbClr val="1C3EC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forms well at both classifying cancellations and non-cancellations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6F5F193-73F8-FD41-8455-2D946AB49B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331210-954E-1448-9CFA-7A4043D6E7E5}" type="slidenum">
              <a:rPr lang="en-US" smtClean="0"/>
              <a:t>7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C6CDD2E-3333-0746-A7B3-AF8E3C639F88}"/>
              </a:ext>
            </a:extLst>
          </p:cNvPr>
          <p:cNvSpPr/>
          <p:nvPr/>
        </p:nvSpPr>
        <p:spPr>
          <a:xfrm>
            <a:off x="1034321" y="1901825"/>
            <a:ext cx="7434273" cy="88634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D515422-C250-3142-8E80-C080B2FDDEE6}"/>
              </a:ext>
            </a:extLst>
          </p:cNvPr>
          <p:cNvSpPr txBox="1"/>
          <p:nvPr/>
        </p:nvSpPr>
        <p:spPr>
          <a:xfrm>
            <a:off x="10290659" y="315386"/>
            <a:ext cx="14542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d-ID" dirty="0">
                <a:solidFill>
                  <a:srgbClr val="213C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actal Labs</a:t>
            </a:r>
            <a:endParaRPr lang="en-US" b="1" dirty="0">
              <a:solidFill>
                <a:srgbClr val="213C8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F8B318CC-6285-E843-B31A-8B643CE925C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76515" y="308824"/>
            <a:ext cx="352244" cy="35224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6BDCEFC-B02C-D34A-83F7-18DFE495630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22492" y="1901825"/>
            <a:ext cx="5887460" cy="42679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96921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5EF750-22C4-D740-AD58-3FC36618E4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584" y="559498"/>
            <a:ext cx="11278488" cy="568325"/>
          </a:xfrm>
        </p:spPr>
        <p:txBody>
          <a:bodyPr>
            <a:noAutofit/>
          </a:bodyPr>
          <a:lstStyle/>
          <a:p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Learning curve plot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67AFB44-AE89-6F4B-B4C9-0D16E617D77D}"/>
              </a:ext>
            </a:extLst>
          </p:cNvPr>
          <p:cNvSpPr/>
          <p:nvPr/>
        </p:nvSpPr>
        <p:spPr>
          <a:xfrm>
            <a:off x="454585" y="1501775"/>
            <a:ext cx="7140015" cy="40005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re data can be beneficial for NB to perform consistently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944BD5E-FC98-CA44-9E21-B618B051BD9C}"/>
              </a:ext>
            </a:extLst>
          </p:cNvPr>
          <p:cNvSpPr/>
          <p:nvPr/>
        </p:nvSpPr>
        <p:spPr>
          <a:xfrm>
            <a:off x="8780663" y="1513840"/>
            <a:ext cx="2952411" cy="4673757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bIns="108000" rtlCol="0" anchor="t"/>
          <a:lstStyle/>
          <a:p>
            <a:pPr>
              <a:lnSpc>
                <a:spcPct val="120000"/>
              </a:lnSpc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670F763-143C-404B-88E1-DD25EA89A6D8}"/>
              </a:ext>
            </a:extLst>
          </p:cNvPr>
          <p:cNvSpPr/>
          <p:nvPr/>
        </p:nvSpPr>
        <p:spPr>
          <a:xfrm>
            <a:off x="7772296" y="1501140"/>
            <a:ext cx="3960777" cy="401289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ight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D00DE6A-C954-1A43-8182-5D965F24DA6D}"/>
              </a:ext>
            </a:extLst>
          </p:cNvPr>
          <p:cNvSpPr/>
          <p:nvPr/>
        </p:nvSpPr>
        <p:spPr>
          <a:xfrm>
            <a:off x="7772296" y="1916936"/>
            <a:ext cx="3972607" cy="4439414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training score (blue line) starts high and slightly decreases, indicating the model initially fits the training data well.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testing score begins low and increases, showing the model gets better at predicting new data.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lines converge around </a:t>
            </a:r>
            <a:r>
              <a:rPr lang="en-US" sz="14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2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=0.75</a:t>
            </a:r>
            <a:r>
              <a:rPr lang="en-US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ort, although the model </a:t>
            </a:r>
            <a:r>
              <a:rPr lang="en-US" sz="1400" b="1" dirty="0">
                <a:solidFill>
                  <a:srgbClr val="1C3EC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esn't not show any signs of underfitting or overfitting</a:t>
            </a:r>
            <a:r>
              <a:rPr lang="en-US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6F5F193-73F8-FD41-8455-2D946AB49B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331210-954E-1448-9CFA-7A4043D6E7E5}" type="slidenum">
              <a:rPr lang="en-US" smtClean="0"/>
              <a:t>8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C6CDD2E-3333-0746-A7B3-AF8E3C639F88}"/>
              </a:ext>
            </a:extLst>
          </p:cNvPr>
          <p:cNvSpPr/>
          <p:nvPr/>
        </p:nvSpPr>
        <p:spPr>
          <a:xfrm>
            <a:off x="1034321" y="1901825"/>
            <a:ext cx="7434273" cy="88634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D515422-C250-3142-8E80-C080B2FDDEE6}"/>
              </a:ext>
            </a:extLst>
          </p:cNvPr>
          <p:cNvSpPr txBox="1"/>
          <p:nvPr/>
        </p:nvSpPr>
        <p:spPr>
          <a:xfrm>
            <a:off x="10290659" y="315386"/>
            <a:ext cx="14542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d-ID" dirty="0">
                <a:solidFill>
                  <a:srgbClr val="213C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actal Labs</a:t>
            </a:r>
            <a:endParaRPr lang="en-US" b="1" dirty="0">
              <a:solidFill>
                <a:srgbClr val="213C8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F8B318CC-6285-E843-B31A-8B643CE925C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76515" y="308824"/>
            <a:ext cx="352244" cy="35224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36907C41-3E29-B04D-8E0A-FAEBF88859D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92283" y="2004820"/>
            <a:ext cx="5864618" cy="4263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38627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5EF750-22C4-D740-AD58-3FC36618E4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584" y="559498"/>
            <a:ext cx="11278488" cy="568325"/>
          </a:xfrm>
        </p:spPr>
        <p:txBody>
          <a:bodyPr>
            <a:noAutofit/>
          </a:bodyPr>
          <a:lstStyle/>
          <a:p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Performance across training vs test set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67AFB44-AE89-6F4B-B4C9-0D16E617D77D}"/>
              </a:ext>
            </a:extLst>
          </p:cNvPr>
          <p:cNvSpPr/>
          <p:nvPr/>
        </p:nvSpPr>
        <p:spPr>
          <a:xfrm>
            <a:off x="454585" y="1501775"/>
            <a:ext cx="7140015" cy="40005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B model performs better in the test set than in training one 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944BD5E-FC98-CA44-9E21-B618B051BD9C}"/>
              </a:ext>
            </a:extLst>
          </p:cNvPr>
          <p:cNvSpPr/>
          <p:nvPr/>
        </p:nvSpPr>
        <p:spPr>
          <a:xfrm>
            <a:off x="8780663" y="1513840"/>
            <a:ext cx="2952411" cy="4673757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bIns="108000" rtlCol="0" anchor="t"/>
          <a:lstStyle/>
          <a:p>
            <a:pPr>
              <a:lnSpc>
                <a:spcPct val="120000"/>
              </a:lnSpc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670F763-143C-404B-88E1-DD25EA89A6D8}"/>
              </a:ext>
            </a:extLst>
          </p:cNvPr>
          <p:cNvSpPr/>
          <p:nvPr/>
        </p:nvSpPr>
        <p:spPr>
          <a:xfrm>
            <a:off x="7772296" y="1501140"/>
            <a:ext cx="3960777" cy="401289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ight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D00DE6A-C954-1A43-8182-5D965F24DA6D}"/>
              </a:ext>
            </a:extLst>
          </p:cNvPr>
          <p:cNvSpPr/>
          <p:nvPr/>
        </p:nvSpPr>
        <p:spPr>
          <a:xfrm>
            <a:off x="7772296" y="1916936"/>
            <a:ext cx="3972607" cy="4439414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Gaussian Naive Bayes Classifier achieves an </a:t>
            </a:r>
            <a:r>
              <a:rPr lang="en-US" sz="14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2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core of 0.7282 on the training set and 0.7525 on the test set.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better performance on the test set means that model performs better on this dataset, and hence </a:t>
            </a:r>
            <a:r>
              <a:rPr lang="en-US" sz="1400" b="1" dirty="0">
                <a:solidFill>
                  <a:srgbClr val="1C3EC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good indication of generalization</a:t>
            </a:r>
            <a:r>
              <a:rPr lang="en-US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6F5F193-73F8-FD41-8455-2D946AB49B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331210-954E-1448-9CFA-7A4043D6E7E5}" type="slidenum">
              <a:rPr lang="en-US" smtClean="0"/>
              <a:t>9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C6CDD2E-3333-0746-A7B3-AF8E3C639F88}"/>
              </a:ext>
            </a:extLst>
          </p:cNvPr>
          <p:cNvSpPr/>
          <p:nvPr/>
        </p:nvSpPr>
        <p:spPr>
          <a:xfrm>
            <a:off x="1034321" y="1901825"/>
            <a:ext cx="7434273" cy="88634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D515422-C250-3142-8E80-C080B2FDDEE6}"/>
              </a:ext>
            </a:extLst>
          </p:cNvPr>
          <p:cNvSpPr txBox="1"/>
          <p:nvPr/>
        </p:nvSpPr>
        <p:spPr>
          <a:xfrm>
            <a:off x="10290659" y="315386"/>
            <a:ext cx="14542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d-ID" dirty="0">
                <a:solidFill>
                  <a:srgbClr val="213C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actal Labs</a:t>
            </a:r>
            <a:endParaRPr lang="en-US" b="1" dirty="0">
              <a:solidFill>
                <a:srgbClr val="213C8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F8B318CC-6285-E843-B31A-8B643CE925C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76515" y="308824"/>
            <a:ext cx="352244" cy="352244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F3F7D922-97DC-944A-BFA7-AAEA78598FC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48975"/>
          <a:stretch/>
        </p:blipFill>
        <p:spPr>
          <a:xfrm>
            <a:off x="460302" y="2417089"/>
            <a:ext cx="7022780" cy="74097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7179ACE6-33A4-8641-8C5C-401D8C558B1C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48975"/>
          <a:stretch/>
        </p:blipFill>
        <p:spPr>
          <a:xfrm>
            <a:off x="444063" y="3721425"/>
            <a:ext cx="7022780" cy="740971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93473FF4-AFC7-664E-9DE1-CF6ECD320BD6}"/>
              </a:ext>
            </a:extLst>
          </p:cNvPr>
          <p:cNvSpPr/>
          <p:nvPr/>
        </p:nvSpPr>
        <p:spPr>
          <a:xfrm>
            <a:off x="454584" y="2151967"/>
            <a:ext cx="6926609" cy="344986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20000"/>
              </a:lnSpc>
            </a:pPr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B performance on training set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887463B-0A06-0242-B347-B8093E6534B9}"/>
              </a:ext>
            </a:extLst>
          </p:cNvPr>
          <p:cNvSpPr/>
          <p:nvPr/>
        </p:nvSpPr>
        <p:spPr>
          <a:xfrm>
            <a:off x="454584" y="3441189"/>
            <a:ext cx="6926609" cy="344986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20000"/>
              </a:lnSpc>
            </a:pPr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B performance on test se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38F91E9-4BEB-5740-92C3-C0EE1944E699}"/>
              </a:ext>
            </a:extLst>
          </p:cNvPr>
          <p:cNvSpPr/>
          <p:nvPr/>
        </p:nvSpPr>
        <p:spPr>
          <a:xfrm>
            <a:off x="6668325" y="2536435"/>
            <a:ext cx="616069" cy="513752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89AC5420-B947-F741-8159-751A843206DC}"/>
              </a:ext>
            </a:extLst>
          </p:cNvPr>
          <p:cNvSpPr/>
          <p:nvPr/>
        </p:nvSpPr>
        <p:spPr>
          <a:xfrm>
            <a:off x="6691711" y="3834229"/>
            <a:ext cx="616069" cy="513752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06718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410</TotalTime>
  <Words>1521</Words>
  <Application>Microsoft Macintosh PowerPoint</Application>
  <PresentationFormat>Widescreen</PresentationFormat>
  <Paragraphs>227</Paragraphs>
  <Slides>15</Slides>
  <Notes>15</Notes>
  <HiddenSlides>1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19" baseType="lpstr">
      <vt:lpstr>Arial</vt:lpstr>
      <vt:lpstr>Calibri</vt:lpstr>
      <vt:lpstr>Office Theme</vt:lpstr>
      <vt:lpstr>think-cell Slide</vt:lpstr>
      <vt:lpstr>Predicting Hotel Booking Cancellations to Minimize Revenue Loss due to False Negatives1</vt:lpstr>
      <vt:lpstr>PowerPoint Presentation</vt:lpstr>
      <vt:lpstr>Outline</vt:lpstr>
      <vt:lpstr>Experiment design: Experiment flow</vt:lpstr>
      <vt:lpstr>Naïve Bayes is the best performing model</vt:lpstr>
      <vt:lpstr>Outline</vt:lpstr>
      <vt:lpstr>ROC-AUC plot</vt:lpstr>
      <vt:lpstr>Learning curve plot</vt:lpstr>
      <vt:lpstr>Performance across training vs test sets</vt:lpstr>
      <vt:lpstr>Outline</vt:lpstr>
      <vt:lpstr>How the model (Naïve Bayes model) works</vt:lpstr>
      <vt:lpstr>Permutation importance</vt:lpstr>
      <vt:lpstr>Outline</vt:lpstr>
      <vt:lpstr>Implications</vt:lpstr>
      <vt:lpstr>Conclusions and recommendation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mproving the Number of Review: Exploring Review Patterns in Bangkok's Airbnb Landscape</dc:title>
  <dc:creator>Adelia Januarto</dc:creator>
  <cp:lastModifiedBy>Adelia Januarto</cp:lastModifiedBy>
  <cp:revision>25</cp:revision>
  <cp:lastPrinted>2024-04-30T13:07:30Z</cp:lastPrinted>
  <dcterms:created xsi:type="dcterms:W3CDTF">2024-04-25T07:54:25Z</dcterms:created>
  <dcterms:modified xsi:type="dcterms:W3CDTF">2024-05-27T04:35:12Z</dcterms:modified>
</cp:coreProperties>
</file>